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4" r:id="rId2"/>
  </p:sldMasterIdLst>
  <p:notesMasterIdLst>
    <p:notesMasterId r:id="rId16"/>
  </p:notesMasterIdLst>
  <p:handoutMasterIdLst>
    <p:handoutMasterId r:id="rId17"/>
  </p:handoutMasterIdLst>
  <p:sldIdLst>
    <p:sldId id="256" r:id="rId3"/>
    <p:sldId id="274" r:id="rId4"/>
    <p:sldId id="258" r:id="rId5"/>
    <p:sldId id="259" r:id="rId6"/>
    <p:sldId id="283" r:id="rId7"/>
    <p:sldId id="278" r:id="rId8"/>
    <p:sldId id="285" r:id="rId9"/>
    <p:sldId id="284" r:id="rId10"/>
    <p:sldId id="282" r:id="rId11"/>
    <p:sldId id="280" r:id="rId12"/>
    <p:sldId id="281" r:id="rId13"/>
    <p:sldId id="279" r:id="rId14"/>
    <p:sldId id="277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290F808-194C-471F-9E68-7B40DCE7A650}">
          <p14:sldIdLst>
            <p14:sldId id="256"/>
            <p14:sldId id="274"/>
            <p14:sldId id="258"/>
          </p14:sldIdLst>
        </p14:section>
        <p14:section name="Exchange - Notes from the Field" id="{81D88599-6940-49BB-ACFA-1E601D319504}">
          <p14:sldIdLst>
            <p14:sldId id="259"/>
            <p14:sldId id="283"/>
            <p14:sldId id="278"/>
            <p14:sldId id="285"/>
            <p14:sldId id="284"/>
            <p14:sldId id="282"/>
            <p14:sldId id="280"/>
            <p14:sldId id="281"/>
            <p14:sldId id="279"/>
          </p14:sldIdLst>
        </p14:section>
        <p14:section name="MIgration zu Exchange Server 2019" id="{54E8EB55-9DEE-42FE-9420-7455DBB10AA0}">
          <p14:sldIdLst>
            <p14:sldId id="27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87C2785-0954-4AD9-89C6-947A3940FF7B}" v="313" dt="2019-11-14T10:25:11.812"/>
  </p1510:revLst>
</p1510:revInfo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81778" autoAdjust="0"/>
  </p:normalViewPr>
  <p:slideViewPr>
    <p:cSldViewPr snapToGrid="0">
      <p:cViewPr varScale="1">
        <p:scale>
          <a:sx n="62" d="100"/>
          <a:sy n="62" d="100"/>
        </p:scale>
        <p:origin x="52" y="7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4" d="100"/>
          <a:sy n="104" d="100"/>
        </p:scale>
        <p:origin x="348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microsoft.com/office/2016/11/relationships/changesInfo" Target="changesInfos/changesInfo1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06E14ABF-FC4C-4B98-B2A4-DF762ED946F2}"/>
    <pc:docChg chg="undo custSel mod addSld delSld modSld sldOrd delSection modSection">
      <pc:chgData name="Thomas Stensitzki" userId="75cafe6b-2f2a-469b-85c4-eec3b9c972ba" providerId="ADAL" clId="{06E14ABF-FC4C-4B98-B2A4-DF762ED946F2}" dt="2019-04-03T17:24:54.400" v="6024" actId="6549"/>
      <pc:docMkLst>
        <pc:docMk/>
      </pc:docMkLst>
      <pc:sldChg chg="modSp modTransition modNotes">
        <pc:chgData name="Thomas Stensitzki" userId="75cafe6b-2f2a-469b-85c4-eec3b9c972ba" providerId="ADAL" clId="{06E14ABF-FC4C-4B98-B2A4-DF762ED946F2}" dt="2019-04-03T14:44:25.168" v="6015" actId="113"/>
        <pc:sldMkLst>
          <pc:docMk/>
          <pc:sldMk cId="353304963" sldId="256"/>
        </pc:sldMkLst>
        <pc:spChg chg="mod">
          <ac:chgData name="Thomas Stensitzki" userId="75cafe6b-2f2a-469b-85c4-eec3b9c972ba" providerId="ADAL" clId="{06E14ABF-FC4C-4B98-B2A4-DF762ED946F2}" dt="2019-04-03T14:44:25.168" v="6015" actId="113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898" v="940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modSp ord modTransition modNotes">
        <pc:chgData name="Thomas Stensitzki" userId="75cafe6b-2f2a-469b-85c4-eec3b9c972ba" providerId="ADAL" clId="{06E14ABF-FC4C-4B98-B2A4-DF762ED946F2}" dt="2019-04-02T17:26:04.950" v="956" actId="790"/>
        <pc:sldMkLst>
          <pc:docMk/>
          <pc:sldMk cId="3986585176" sldId="258"/>
        </pc:sldMkLst>
        <pc:spChg chg="mod">
          <ac:chgData name="Thomas Stensitzki" userId="75cafe6b-2f2a-469b-85c4-eec3b9c972ba" providerId="ADAL" clId="{06E14ABF-FC4C-4B98-B2A4-DF762ED946F2}" dt="2019-04-02T17:26:04.937" v="95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1" v="95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5" v="95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06E14ABF-FC4C-4B98-B2A4-DF762ED946F2}" dt="2019-03-31T15:17:10.753" v="693" actId="1076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4.961" v="960" actId="790"/>
        <pc:sldMkLst>
          <pc:docMk/>
          <pc:sldMk cId="577492687" sldId="259"/>
        </pc:sldMkLst>
        <pc:spChg chg="mod">
          <ac:chgData name="Thomas Stensitzki" userId="75cafe6b-2f2a-469b-85c4-eec3b9c972ba" providerId="ADAL" clId="{06E14ABF-FC4C-4B98-B2A4-DF762ED946F2}" dt="2019-04-02T17:26:04.952" v="957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4.955" v="958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mod modTransition setBg delAnim modAnim modNotes modNotesTx">
        <pc:chgData name="Thomas Stensitzki" userId="75cafe6b-2f2a-469b-85c4-eec3b9c972ba" providerId="ADAL" clId="{06E14ABF-FC4C-4B98-B2A4-DF762ED946F2}" dt="2019-04-02T17:26:04.983" v="968" actId="790"/>
        <pc:sldMkLst>
          <pc:docMk/>
          <pc:sldMk cId="3322716105" sldId="260"/>
        </pc:sldMkLst>
        <pc:spChg chg="add del mod">
          <ac:chgData name="Thomas Stensitzki" userId="75cafe6b-2f2a-469b-85c4-eec3b9c972ba" providerId="ADAL" clId="{06E14ABF-FC4C-4B98-B2A4-DF762ED946F2}" dt="2019-03-31T14:55:42.603" v="135" actId="478"/>
          <ac:spMkLst>
            <pc:docMk/>
            <pc:sldMk cId="3322716105" sldId="260"/>
            <ac:spMk id="3" creationId="{E8127EFB-877F-4629-958D-C6EC06AC0B2F}"/>
          </ac:spMkLst>
        </pc:spChg>
        <pc:spChg chg="mod">
          <ac:chgData name="Thomas Stensitzki" userId="75cafe6b-2f2a-469b-85c4-eec3b9c972ba" providerId="ADAL" clId="{06E14ABF-FC4C-4B98-B2A4-DF762ED946F2}" dt="2019-04-02T17:26:04.965" v="961" actId="790"/>
          <ac:spMkLst>
            <pc:docMk/>
            <pc:sldMk cId="3322716105" sldId="260"/>
            <ac:spMk id="4" creationId="{68CFF749-310B-4209-A6F9-A841F771F5E9}"/>
          </ac:spMkLst>
        </pc:spChg>
        <pc:spChg chg="del">
          <ac:chgData name="Thomas Stensitzki" userId="75cafe6b-2f2a-469b-85c4-eec3b9c972ba" providerId="ADAL" clId="{06E14ABF-FC4C-4B98-B2A4-DF762ED946F2}" dt="2019-03-31T14:55:38.999" v="134" actId="478"/>
          <ac:spMkLst>
            <pc:docMk/>
            <pc:sldMk cId="3322716105" sldId="260"/>
            <ac:spMk id="5" creationId="{91CFE9EE-8010-410B-A3CD-FA8CCE75090D}"/>
          </ac:spMkLst>
        </pc:spChg>
        <pc:spChg chg="mod">
          <ac:chgData name="Thomas Stensitzki" userId="75cafe6b-2f2a-469b-85c4-eec3b9c972ba" providerId="ADAL" clId="{06E14ABF-FC4C-4B98-B2A4-DF762ED946F2}" dt="2019-04-02T17:26:04.967" v="962" actId="790"/>
          <ac:spMkLst>
            <pc:docMk/>
            <pc:sldMk cId="3322716105" sldId="260"/>
            <ac:spMk id="6" creationId="{3E77F062-0B41-463B-AC26-65F223DBB915}"/>
          </ac:spMkLst>
        </pc:spChg>
        <pc:spChg chg="add mod">
          <ac:chgData name="Thomas Stensitzki" userId="75cafe6b-2f2a-469b-85c4-eec3b9c972ba" providerId="ADAL" clId="{06E14ABF-FC4C-4B98-B2A4-DF762ED946F2}" dt="2019-04-02T17:26:04.970" v="963" actId="790"/>
          <ac:spMkLst>
            <pc:docMk/>
            <pc:sldMk cId="3322716105" sldId="260"/>
            <ac:spMk id="11" creationId="{53043CD2-092C-4757-956D-63E65546076E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2" creationId="{59A309A7-1751-4ABE-A3C1-EEC40366AD89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4" creationId="{967D8EB6-EAE1-4F9C-B398-83321E287204}"/>
          </ac:spMkLst>
        </pc:spChg>
        <pc:spChg chg="add mod">
          <ac:chgData name="Thomas Stensitzki" userId="75cafe6b-2f2a-469b-85c4-eec3b9c972ba" providerId="ADAL" clId="{06E14ABF-FC4C-4B98-B2A4-DF762ED946F2}" dt="2019-04-02T17:26:04.973" v="964" actId="790"/>
          <ac:spMkLst>
            <pc:docMk/>
            <pc:sldMk cId="3322716105" sldId="260"/>
            <ac:spMk id="15" creationId="{4665514F-A859-487A-9838-ECEB03F42132}"/>
          </ac:spMkLst>
        </pc:spChg>
        <pc:spChg chg="add mod">
          <ac:chgData name="Thomas Stensitzki" userId="75cafe6b-2f2a-469b-85c4-eec3b9c972ba" providerId="ADAL" clId="{06E14ABF-FC4C-4B98-B2A4-DF762ED946F2}" dt="2019-04-02T17:26:04.975" v="965" actId="790"/>
          <ac:spMkLst>
            <pc:docMk/>
            <pc:sldMk cId="3322716105" sldId="260"/>
            <ac:spMk id="16" creationId="{1BB8EF91-5E62-4B4F-A844-931B2A6A2545}"/>
          </ac:spMkLst>
        </pc:spChg>
        <pc:spChg chg="add mod">
          <ac:chgData name="Thomas Stensitzki" userId="75cafe6b-2f2a-469b-85c4-eec3b9c972ba" providerId="ADAL" clId="{06E14ABF-FC4C-4B98-B2A4-DF762ED946F2}" dt="2019-04-02T17:26:04.977" v="966" actId="790"/>
          <ac:spMkLst>
            <pc:docMk/>
            <pc:sldMk cId="3322716105" sldId="260"/>
            <ac:spMk id="17" creationId="{AC2D8443-81D2-4106-BE97-18FEAA33AD7F}"/>
          </ac:spMkLst>
        </pc:spChg>
        <pc:grpChg chg="add mod">
          <ac:chgData name="Thomas Stensitzki" userId="75cafe6b-2f2a-469b-85c4-eec3b9c972ba" providerId="ADAL" clId="{06E14ABF-FC4C-4B98-B2A4-DF762ED946F2}" dt="2019-03-31T15:08:34.753" v="684" actId="164"/>
          <ac:grpSpMkLst>
            <pc:docMk/>
            <pc:sldMk cId="3322716105" sldId="260"/>
            <ac:grpSpMk id="13" creationId="{54B3A9E3-430E-47A2-9331-76F5EE858C54}"/>
          </ac:grpSpMkLst>
        </pc:grpChg>
        <pc:grpChg chg="add mod">
          <ac:chgData name="Thomas Stensitzki" userId="75cafe6b-2f2a-469b-85c4-eec3b9c972ba" providerId="ADAL" clId="{06E14ABF-FC4C-4B98-B2A4-DF762ED946F2}" dt="2019-03-31T15:08:38.195" v="685" actId="164"/>
          <ac:grpSpMkLst>
            <pc:docMk/>
            <pc:sldMk cId="3322716105" sldId="260"/>
            <ac:grpSpMk id="18" creationId="{3071B602-7EF3-4988-A30D-D61CB1A15148}"/>
          </ac:grpSpMkLst>
        </pc:grpChg>
        <pc:grpChg chg="add mod">
          <ac:chgData name="Thomas Stensitzki" userId="75cafe6b-2f2a-469b-85c4-eec3b9c972ba" providerId="ADAL" clId="{06E14ABF-FC4C-4B98-B2A4-DF762ED946F2}" dt="2019-03-31T15:08:42.651" v="686" actId="164"/>
          <ac:grpSpMkLst>
            <pc:docMk/>
            <pc:sldMk cId="3322716105" sldId="260"/>
            <ac:grpSpMk id="19" creationId="{343D7AD8-4214-48D5-82D2-3B81FA0CDA83}"/>
          </ac:grpSpMkLst>
        </pc:grpChg>
        <pc:grpChg chg="add mod">
          <ac:chgData name="Thomas Stensitzki" userId="75cafe6b-2f2a-469b-85c4-eec3b9c972ba" providerId="ADAL" clId="{06E14ABF-FC4C-4B98-B2A4-DF762ED946F2}" dt="2019-03-31T15:08:45.724" v="687" actId="164"/>
          <ac:grpSpMkLst>
            <pc:docMk/>
            <pc:sldMk cId="3322716105" sldId="260"/>
            <ac:grpSpMk id="20" creationId="{75D3FE8D-A729-4466-82F3-3D4EE6E36811}"/>
          </ac:grpSpMkLst>
        </pc:grpChg>
        <pc:picChg chg="add mod">
          <ac:chgData name="Thomas Stensitzki" userId="75cafe6b-2f2a-469b-85c4-eec3b9c972ba" providerId="ADAL" clId="{06E14ABF-FC4C-4B98-B2A4-DF762ED946F2}" dt="2019-03-31T15:08:34.753" v="684" actId="164"/>
          <ac:picMkLst>
            <pc:docMk/>
            <pc:sldMk cId="3322716105" sldId="260"/>
            <ac:picMk id="7" creationId="{AFAB17B4-580C-437A-9A55-97AE734641EE}"/>
          </ac:picMkLst>
        </pc:picChg>
        <pc:picChg chg="add mod">
          <ac:chgData name="Thomas Stensitzki" userId="75cafe6b-2f2a-469b-85c4-eec3b9c972ba" providerId="ADAL" clId="{06E14ABF-FC4C-4B98-B2A4-DF762ED946F2}" dt="2019-03-31T15:08:38.195" v="685" actId="164"/>
          <ac:picMkLst>
            <pc:docMk/>
            <pc:sldMk cId="3322716105" sldId="260"/>
            <ac:picMk id="8" creationId="{5466727C-60B1-433E-B75C-099D400A4ECF}"/>
          </ac:picMkLst>
        </pc:picChg>
        <pc:picChg chg="add mod">
          <ac:chgData name="Thomas Stensitzki" userId="75cafe6b-2f2a-469b-85c4-eec3b9c972ba" providerId="ADAL" clId="{06E14ABF-FC4C-4B98-B2A4-DF762ED946F2}" dt="2019-03-31T15:08:42.651" v="686" actId="164"/>
          <ac:picMkLst>
            <pc:docMk/>
            <pc:sldMk cId="3322716105" sldId="260"/>
            <ac:picMk id="9" creationId="{76449023-59A2-4F42-9FF8-B016F0AEFFDB}"/>
          </ac:picMkLst>
        </pc:picChg>
        <pc:picChg chg="add mod">
          <ac:chgData name="Thomas Stensitzki" userId="75cafe6b-2f2a-469b-85c4-eec3b9c972ba" providerId="ADAL" clId="{06E14ABF-FC4C-4B98-B2A4-DF762ED946F2}" dt="2019-03-31T15:08:45.724" v="687" actId="164"/>
          <ac:picMkLst>
            <pc:docMk/>
            <pc:sldMk cId="3322716105" sldId="260"/>
            <ac:picMk id="10" creationId="{8E8A5F47-CBCF-490D-974C-A55468F933B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5.666" v="1226" actId="790"/>
        <pc:sldMkLst>
          <pc:docMk/>
          <pc:sldMk cId="1248369839" sldId="266"/>
        </pc:sldMkLst>
        <pc:spChg chg="mod">
          <ac:chgData name="Thomas Stensitzki" userId="75cafe6b-2f2a-469b-85c4-eec3b9c972ba" providerId="ADAL" clId="{06E14ABF-FC4C-4B98-B2A4-DF762ED946F2}" dt="2019-04-02T17:26:05.656" v="1222" actId="790"/>
          <ac:spMkLst>
            <pc:docMk/>
            <pc:sldMk cId="1248369839" sldId="266"/>
            <ac:spMk id="2" creationId="{34D916E7-766B-4E0B-9454-B7F1ADAB02D4}"/>
          </ac:spMkLst>
        </pc:spChg>
        <pc:spChg chg="mod">
          <ac:chgData name="Thomas Stensitzki" userId="75cafe6b-2f2a-469b-85c4-eec3b9c972ba" providerId="ADAL" clId="{06E14ABF-FC4C-4B98-B2A4-DF762ED946F2}" dt="2019-04-02T17:26:05.658" v="1223" actId="790"/>
          <ac:spMkLst>
            <pc:docMk/>
            <pc:sldMk cId="1248369839" sldId="266"/>
            <ac:spMk id="6" creationId="{655AA805-1CE0-400B-A070-A09DAF42527F}"/>
          </ac:spMkLst>
        </pc:spChg>
        <pc:spChg chg="mod">
          <ac:chgData name="Thomas Stensitzki" userId="75cafe6b-2f2a-469b-85c4-eec3b9c972ba" providerId="ADAL" clId="{06E14ABF-FC4C-4B98-B2A4-DF762ED946F2}" dt="2019-04-02T17:26:05.660" v="1224" actId="790"/>
          <ac:spMkLst>
            <pc:docMk/>
            <pc:sldMk cId="1248369839" sldId="266"/>
            <ac:spMk id="7" creationId="{F4D1189F-A3C3-4333-B4C3-9ACDF0638573}"/>
          </ac:spMkLst>
        </pc:spChg>
      </pc:sldChg>
      <pc:sldChg chg="addSp delSp modSp add modTransition modNotes">
        <pc:chgData name="Thomas Stensitzki" userId="75cafe6b-2f2a-469b-85c4-eec3b9c972ba" providerId="ADAL" clId="{06E14ABF-FC4C-4B98-B2A4-DF762ED946F2}" dt="2019-04-02T17:26:04.916" v="946" actId="790"/>
        <pc:sldMkLst>
          <pc:docMk/>
          <pc:sldMk cId="28132323" sldId="274"/>
        </pc:sldMkLst>
        <pc:spChg chg="mod">
          <ac:chgData name="Thomas Stensitzki" userId="75cafe6b-2f2a-469b-85c4-eec3b9c972ba" providerId="ADAL" clId="{06E14ABF-FC4C-4B98-B2A4-DF762ED946F2}" dt="2019-04-02T17:26:04.907" v="943" actId="790"/>
          <ac:spMkLst>
            <pc:docMk/>
            <pc:sldMk cId="28132323" sldId="274"/>
            <ac:spMk id="2" creationId="{8A16B391-36DA-4FD3-95E3-C45E98AE4755}"/>
          </ac:spMkLst>
        </pc:spChg>
        <pc:spChg chg="del">
          <ac:chgData name="Thomas Stensitzki" userId="75cafe6b-2f2a-469b-85c4-eec3b9c972ba" providerId="ADAL" clId="{06E14ABF-FC4C-4B98-B2A4-DF762ED946F2}" dt="2019-03-29T13:02:07.056" v="45" actId="478"/>
          <ac:spMkLst>
            <pc:docMk/>
            <pc:sldMk cId="28132323" sldId="274"/>
            <ac:spMk id="3" creationId="{A729CAED-E5F8-4A59-B9C1-189CD475D29F}"/>
          </ac:spMkLst>
        </pc:spChg>
        <pc:spChg chg="mod">
          <ac:chgData name="Thomas Stensitzki" userId="75cafe6b-2f2a-469b-85c4-eec3b9c972ba" providerId="ADAL" clId="{06E14ABF-FC4C-4B98-B2A4-DF762ED946F2}" dt="2019-04-02T17:26:04.909" v="944" actId="790"/>
          <ac:spMkLst>
            <pc:docMk/>
            <pc:sldMk cId="28132323" sldId="274"/>
            <ac:spMk id="4" creationId="{3CDC1E90-4388-4F8B-B1DC-2DC6C03548A2}"/>
          </ac:spMkLst>
        </pc:spChg>
        <pc:picChg chg="add mod">
          <ac:chgData name="Thomas Stensitzki" userId="75cafe6b-2f2a-469b-85c4-eec3b9c972ba" providerId="ADAL" clId="{06E14ABF-FC4C-4B98-B2A4-DF762ED946F2}" dt="2019-03-29T13:02:35.972" v="49" actId="12788"/>
          <ac:picMkLst>
            <pc:docMk/>
            <pc:sldMk cId="28132323" sldId="274"/>
            <ac:picMk id="5" creationId="{126BC707-0610-47CC-A6BE-C945356FD3D8}"/>
          </ac:picMkLst>
        </pc:picChg>
      </pc:sldChg>
      <pc:sldChg chg="modSp add modTransition modNotes">
        <pc:chgData name="Thomas Stensitzki" userId="75cafe6b-2f2a-469b-85c4-eec3b9c972ba" providerId="ADAL" clId="{06E14ABF-FC4C-4B98-B2A4-DF762ED946F2}" dt="2019-04-02T17:26:04.933" v="951" actId="790"/>
        <pc:sldMkLst>
          <pc:docMk/>
          <pc:sldMk cId="1868214746" sldId="275"/>
        </pc:sldMkLst>
        <pc:spChg chg="mod">
          <ac:chgData name="Thomas Stensitzki" userId="75cafe6b-2f2a-469b-85c4-eec3b9c972ba" providerId="ADAL" clId="{06E14ABF-FC4C-4B98-B2A4-DF762ED946F2}" dt="2019-04-02T17:26:04.917" v="947" actId="790"/>
          <ac:spMkLst>
            <pc:docMk/>
            <pc:sldMk cId="1868214746" sldId="275"/>
            <ac:spMk id="2" creationId="{7B61AEE5-2048-412D-9310-CB7BD44DAF4A}"/>
          </ac:spMkLst>
        </pc:spChg>
        <pc:spChg chg="mod">
          <ac:chgData name="Thomas Stensitzki" userId="75cafe6b-2f2a-469b-85c4-eec3b9c972ba" providerId="ADAL" clId="{06E14ABF-FC4C-4B98-B2A4-DF762ED946F2}" dt="2019-04-02T17:26:04.922" v="948" actId="790"/>
          <ac:spMkLst>
            <pc:docMk/>
            <pc:sldMk cId="1868214746" sldId="275"/>
            <ac:spMk id="3" creationId="{E1F1ABE0-AC4E-4F90-B3A3-E5B6ACA97DE2}"/>
          </ac:spMkLst>
        </pc:spChg>
        <pc:spChg chg="mod">
          <ac:chgData name="Thomas Stensitzki" userId="75cafe6b-2f2a-469b-85c4-eec3b9c972ba" providerId="ADAL" clId="{06E14ABF-FC4C-4B98-B2A4-DF762ED946F2}" dt="2019-04-02T17:26:04.926" v="949" actId="790"/>
          <ac:spMkLst>
            <pc:docMk/>
            <pc:sldMk cId="1868214746" sldId="275"/>
            <ac:spMk id="4" creationId="{4CE104C8-E25F-4F57-A2CC-91D8E92E352A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548" v="1192" actId="790"/>
        <pc:sldMkLst>
          <pc:docMk/>
          <pc:sldMk cId="1934596246" sldId="276"/>
        </pc:sldMkLst>
        <pc:spChg chg="mod">
          <ac:chgData name="Thomas Stensitzki" userId="75cafe6b-2f2a-469b-85c4-eec3b9c972ba" providerId="ADAL" clId="{06E14ABF-FC4C-4B98-B2A4-DF762ED946F2}" dt="2019-04-02T17:26:05.541" v="1189" actId="790"/>
          <ac:spMkLst>
            <pc:docMk/>
            <pc:sldMk cId="1934596246" sldId="276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543" v="1190" actId="790"/>
          <ac:spMkLst>
            <pc:docMk/>
            <pc:sldMk cId="1934596246" sldId="276"/>
            <ac:spMk id="6" creationId="{9D5FCE5E-BE6E-4AAA-BFE2-CADDE02D473C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645" v="121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06E14ABF-FC4C-4B98-B2A4-DF762ED946F2}" dt="2019-04-02T17:26:05.634" v="1213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7" v="1214" actId="790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9" v="1215" actId="790"/>
          <ac:spMkLst>
            <pc:docMk/>
            <pc:sldMk cId="2855165129" sldId="277"/>
            <ac:spMk id="4" creationId="{00000000-0000-0000-0000-000000000000}"/>
          </ac:spMkLst>
        </pc:spChg>
      </pc:sldChg>
      <pc:sldChg chg="addSp delSp modSp add modAnim modNotes">
        <pc:chgData name="Thomas Stensitzki" userId="75cafe6b-2f2a-469b-85c4-eec3b9c972ba" providerId="ADAL" clId="{06E14ABF-FC4C-4B98-B2A4-DF762ED946F2}" dt="2019-04-02T17:26:05.654" v="1221" actId="790"/>
        <pc:sldMkLst>
          <pc:docMk/>
          <pc:sldMk cId="1033304354" sldId="278"/>
        </pc:sldMkLst>
        <pc:spChg chg="del mod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2" creationId="{3FE0C889-355A-49CE-9612-F2D9491A57EB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3" creationId="{6972C1AA-C5EB-401E-B983-940BC0A952AA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4" creationId="{DF000086-7022-44B9-AD7B-9447CA124F36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5" creationId="{D579B85C-F73C-4AEE-841A-4DF0F9A1EF35}"/>
          </ac:spMkLst>
        </pc:spChg>
        <pc:spChg chg="add mod">
          <ac:chgData name="Thomas Stensitzki" userId="75cafe6b-2f2a-469b-85c4-eec3b9c972ba" providerId="ADAL" clId="{06E14ABF-FC4C-4B98-B2A4-DF762ED946F2}" dt="2019-04-02T17:26:05.647" v="1218" actId="790"/>
          <ac:spMkLst>
            <pc:docMk/>
            <pc:sldMk cId="1033304354" sldId="278"/>
            <ac:spMk id="6" creationId="{7BA3357F-020A-45B8-B458-830AF2948D01}"/>
          </ac:spMkLst>
        </pc:spChg>
        <pc:spChg chg="add mod">
          <ac:chgData name="Thomas Stensitzki" userId="75cafe6b-2f2a-469b-85c4-eec3b9c972ba" providerId="ADAL" clId="{06E14ABF-FC4C-4B98-B2A4-DF762ED946F2}" dt="2019-04-02T17:26:05.648" v="1219"/>
          <ac:spMkLst>
            <pc:docMk/>
            <pc:sldMk cId="1033304354" sldId="278"/>
            <ac:spMk id="9" creationId="{DA87809A-2B26-449A-B3AA-5104844FA68C}"/>
          </ac:spMkLst>
        </pc:spChg>
        <pc:picChg chg="add mod">
          <ac:chgData name="Thomas Stensitzki" userId="75cafe6b-2f2a-469b-85c4-eec3b9c972ba" providerId="ADAL" clId="{06E14ABF-FC4C-4B98-B2A4-DF762ED946F2}" dt="2019-03-31T15:22:42.160" v="760" actId="12788"/>
          <ac:picMkLst>
            <pc:docMk/>
            <pc:sldMk cId="1033304354" sldId="278"/>
            <ac:picMk id="7" creationId="{4E95E7AF-4650-4584-BB61-CF8017F63C8C}"/>
          </ac:picMkLst>
        </pc:picChg>
        <pc:picChg chg="add del">
          <ac:chgData name="Thomas Stensitzki" userId="75cafe6b-2f2a-469b-85c4-eec3b9c972ba" providerId="ADAL" clId="{06E14ABF-FC4C-4B98-B2A4-DF762ED946F2}" dt="2019-03-31T15:21:08.182" v="731"/>
          <ac:picMkLst>
            <pc:docMk/>
            <pc:sldMk cId="1033304354" sldId="278"/>
            <ac:picMk id="8" creationId="{380CBA5E-C381-47E4-9F48-5C22D6470C44}"/>
          </ac:picMkLst>
        </pc:picChg>
      </pc:sldChg>
      <pc:sldChg chg="modSp modNotes">
        <pc:chgData name="Thomas Stensitzki" userId="75cafe6b-2f2a-469b-85c4-eec3b9c972ba" providerId="ADAL" clId="{06E14ABF-FC4C-4B98-B2A4-DF762ED946F2}" dt="2019-04-02T17:26:05.004" v="975" actId="790"/>
        <pc:sldMkLst>
          <pc:docMk/>
          <pc:sldMk cId="1150042010" sldId="279"/>
        </pc:sldMkLst>
        <pc:spChg chg="mod">
          <ac:chgData name="Thomas Stensitzki" userId="75cafe6b-2f2a-469b-85c4-eec3b9c972ba" providerId="ADAL" clId="{06E14ABF-FC4C-4B98-B2A4-DF762ED946F2}" dt="2019-04-02T17:26:04.985" v="969" actId="790"/>
          <ac:spMkLst>
            <pc:docMk/>
            <pc:sldMk cId="1150042010" sldId="27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6" v="970" actId="790"/>
          <ac:spMkLst>
            <pc:docMk/>
            <pc:sldMk cId="1150042010" sldId="27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9" v="971"/>
          <ac:spMkLst>
            <pc:docMk/>
            <pc:sldMk cId="1150042010" sldId="279"/>
            <ac:spMk id="5" creationId="{90C552DC-66FE-45F6-BC1C-A305A795B23A}"/>
          </ac:spMkLst>
        </pc:spChg>
        <pc:spChg chg="mod">
          <ac:chgData name="Thomas Stensitzki" userId="75cafe6b-2f2a-469b-85c4-eec3b9c972ba" providerId="ADAL" clId="{06E14ABF-FC4C-4B98-B2A4-DF762ED946F2}" dt="2019-04-02T17:26:04.992" v="972"/>
          <ac:spMkLst>
            <pc:docMk/>
            <pc:sldMk cId="1150042010" sldId="279"/>
            <ac:spMk id="6" creationId="{4FD8AAAD-B130-4BF0-A786-B466E0825BE1}"/>
          </ac:spMkLst>
        </pc:spChg>
        <pc:spChg chg="mod">
          <ac:chgData name="Thomas Stensitzki" userId="75cafe6b-2f2a-469b-85c4-eec3b9c972ba" providerId="ADAL" clId="{06E14ABF-FC4C-4B98-B2A4-DF762ED946F2}" dt="2019-04-02T17:26:04.996" v="973"/>
          <ac:spMkLst>
            <pc:docMk/>
            <pc:sldMk cId="1150042010" sldId="279"/>
            <ac:spMk id="7" creationId="{71881F34-8302-4ABF-A8CB-2BA5A860A19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14" v="979" actId="790"/>
        <pc:sldMkLst>
          <pc:docMk/>
          <pc:sldMk cId="1671032201" sldId="280"/>
        </pc:sldMkLst>
        <pc:spChg chg="mod">
          <ac:chgData name="Thomas Stensitzki" userId="75cafe6b-2f2a-469b-85c4-eec3b9c972ba" providerId="ADAL" clId="{06E14ABF-FC4C-4B98-B2A4-DF762ED946F2}" dt="2019-04-02T17:26:05.006" v="976" actId="790"/>
          <ac:spMkLst>
            <pc:docMk/>
            <pc:sldMk cId="1671032201" sldId="28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08" v="977" actId="790"/>
          <ac:spMkLst>
            <pc:docMk/>
            <pc:sldMk cId="1671032201" sldId="280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23" v="983" actId="790"/>
        <pc:sldMkLst>
          <pc:docMk/>
          <pc:sldMk cId="1132588270" sldId="281"/>
        </pc:sldMkLst>
        <pc:spChg chg="mod">
          <ac:chgData name="Thomas Stensitzki" userId="75cafe6b-2f2a-469b-85c4-eec3b9c972ba" providerId="ADAL" clId="{06E14ABF-FC4C-4B98-B2A4-DF762ED946F2}" dt="2019-04-02T17:26:05.016" v="980" actId="790"/>
          <ac:spMkLst>
            <pc:docMk/>
            <pc:sldMk cId="1132588270" sldId="28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18" v="981" actId="790"/>
          <ac:spMkLst>
            <pc:docMk/>
            <pc:sldMk cId="1132588270" sldId="281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9:52:52.175" v="3021" actId="20577"/>
        <pc:sldMkLst>
          <pc:docMk/>
          <pc:sldMk cId="2076058816" sldId="282"/>
        </pc:sldMkLst>
        <pc:spChg chg="mod">
          <ac:chgData name="Thomas Stensitzki" userId="75cafe6b-2f2a-469b-85c4-eec3b9c972ba" providerId="ADAL" clId="{06E14ABF-FC4C-4B98-B2A4-DF762ED946F2}" dt="2019-04-02T17:26:05.025" v="984" actId="790"/>
          <ac:spMkLst>
            <pc:docMk/>
            <pc:sldMk cId="2076058816" sldId="28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28" v="985" actId="790"/>
          <ac:spMkLst>
            <pc:docMk/>
            <pc:sldMk cId="2076058816" sldId="282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30" v="986" actId="790"/>
          <ac:spMkLst>
            <pc:docMk/>
            <pc:sldMk cId="2076058816" sldId="282"/>
            <ac:spMk id="6" creationId="{F62F7DE0-EF4D-441A-8DBF-3C5FA0E95556}"/>
          </ac:spMkLst>
        </pc:spChg>
        <pc:spChg chg="mod">
          <ac:chgData name="Thomas Stensitzki" userId="75cafe6b-2f2a-469b-85c4-eec3b9c972ba" providerId="ADAL" clId="{06E14ABF-FC4C-4B98-B2A4-DF762ED946F2}" dt="2019-04-02T17:26:05.033" v="987" actId="790"/>
          <ac:spMkLst>
            <pc:docMk/>
            <pc:sldMk cId="2076058816" sldId="282"/>
            <ac:spMk id="7" creationId="{76DCBBCF-1698-4412-A8E8-5ABB5CE0FA16}"/>
          </ac:spMkLst>
        </pc:spChg>
        <pc:spChg chg="mod">
          <ac:chgData name="Thomas Stensitzki" userId="75cafe6b-2f2a-469b-85c4-eec3b9c972ba" providerId="ADAL" clId="{06E14ABF-FC4C-4B98-B2A4-DF762ED946F2}" dt="2019-04-02T17:26:05.035" v="988" actId="790"/>
          <ac:spMkLst>
            <pc:docMk/>
            <pc:sldMk cId="2076058816" sldId="282"/>
            <ac:spMk id="8" creationId="{D75C25B8-B5FE-4606-AAF2-F0A06373FF48}"/>
          </ac:spMkLst>
        </pc:spChg>
        <pc:spChg chg="mod">
          <ac:chgData name="Thomas Stensitzki" userId="75cafe6b-2f2a-469b-85c4-eec3b9c972ba" providerId="ADAL" clId="{06E14ABF-FC4C-4B98-B2A4-DF762ED946F2}" dt="2019-04-02T17:26:05.037" v="989" actId="790"/>
          <ac:spMkLst>
            <pc:docMk/>
            <pc:sldMk cId="2076058816" sldId="282"/>
            <ac:spMk id="9" creationId="{A4CF482A-C2A7-4681-85C0-2F782B607DEF}"/>
          </ac:spMkLst>
        </pc:spChg>
        <pc:spChg chg="mod">
          <ac:chgData name="Thomas Stensitzki" userId="75cafe6b-2f2a-469b-85c4-eec3b9c972ba" providerId="ADAL" clId="{06E14ABF-FC4C-4B98-B2A4-DF762ED946F2}" dt="2019-04-02T17:26:05.040" v="990" actId="790"/>
          <ac:spMkLst>
            <pc:docMk/>
            <pc:sldMk cId="2076058816" sldId="282"/>
            <ac:spMk id="11" creationId="{8F23A59F-C109-4046-8B1B-667DD269D7B0}"/>
          </ac:spMkLst>
        </pc:spChg>
        <pc:spChg chg="mod">
          <ac:chgData name="Thomas Stensitzki" userId="75cafe6b-2f2a-469b-85c4-eec3b9c972ba" providerId="ADAL" clId="{06E14ABF-FC4C-4B98-B2A4-DF762ED946F2}" dt="2019-04-02T17:26:05.042" v="991" actId="790"/>
          <ac:spMkLst>
            <pc:docMk/>
            <pc:sldMk cId="2076058816" sldId="282"/>
            <ac:spMk id="12" creationId="{5542FB95-3F1D-4B69-B6E2-FC3390C4519B}"/>
          </ac:spMkLst>
        </pc:spChg>
        <pc:spChg chg="mod">
          <ac:chgData name="Thomas Stensitzki" userId="75cafe6b-2f2a-469b-85c4-eec3b9c972ba" providerId="ADAL" clId="{06E14ABF-FC4C-4B98-B2A4-DF762ED946F2}" dt="2019-04-02T17:26:05.044" v="992" actId="790"/>
          <ac:spMkLst>
            <pc:docMk/>
            <pc:sldMk cId="2076058816" sldId="282"/>
            <ac:spMk id="16" creationId="{82D42801-718B-4B9E-B02F-A6F39ECD0BF3}"/>
          </ac:spMkLst>
        </pc:spChg>
        <pc:spChg chg="mod">
          <ac:chgData name="Thomas Stensitzki" userId="75cafe6b-2f2a-469b-85c4-eec3b9c972ba" providerId="ADAL" clId="{06E14ABF-FC4C-4B98-B2A4-DF762ED946F2}" dt="2019-04-02T17:26:05.046" v="993" actId="790"/>
          <ac:spMkLst>
            <pc:docMk/>
            <pc:sldMk cId="2076058816" sldId="282"/>
            <ac:spMk id="17" creationId="{DA0B2A54-0A9B-48F0-A584-01D211B1C208}"/>
          </ac:spMkLst>
        </pc:spChg>
        <pc:spChg chg="mod">
          <ac:chgData name="Thomas Stensitzki" userId="75cafe6b-2f2a-469b-85c4-eec3b9c972ba" providerId="ADAL" clId="{06E14ABF-FC4C-4B98-B2A4-DF762ED946F2}" dt="2019-04-02T17:26:05.048" v="994" actId="790"/>
          <ac:spMkLst>
            <pc:docMk/>
            <pc:sldMk cId="2076058816" sldId="282"/>
            <ac:spMk id="18" creationId="{396DFEC8-32C3-4816-A9EB-9F94CFB03096}"/>
          </ac:spMkLst>
        </pc:spChg>
        <pc:spChg chg="mod">
          <ac:chgData name="Thomas Stensitzki" userId="75cafe6b-2f2a-469b-85c4-eec3b9c972ba" providerId="ADAL" clId="{06E14ABF-FC4C-4B98-B2A4-DF762ED946F2}" dt="2019-04-02T17:26:05.050" v="995" actId="790"/>
          <ac:spMkLst>
            <pc:docMk/>
            <pc:sldMk cId="2076058816" sldId="282"/>
            <ac:spMk id="19" creationId="{2E1AED60-3A22-485C-8D86-E0B6BE4BEDA4}"/>
          </ac:spMkLst>
        </pc:spChg>
        <pc:spChg chg="mod">
          <ac:chgData name="Thomas Stensitzki" userId="75cafe6b-2f2a-469b-85c4-eec3b9c972ba" providerId="ADAL" clId="{06E14ABF-FC4C-4B98-B2A4-DF762ED946F2}" dt="2019-04-02T17:26:05.052" v="996" actId="790"/>
          <ac:spMkLst>
            <pc:docMk/>
            <pc:sldMk cId="2076058816" sldId="282"/>
            <ac:spMk id="20" creationId="{49278B65-994E-45A5-8AFF-3E76DD9C4E8F}"/>
          </ac:spMkLst>
        </pc:spChg>
        <pc:spChg chg="mod">
          <ac:chgData name="Thomas Stensitzki" userId="75cafe6b-2f2a-469b-85c4-eec3b9c972ba" providerId="ADAL" clId="{06E14ABF-FC4C-4B98-B2A4-DF762ED946F2}" dt="2019-04-02T17:26:05.054" v="997" actId="790"/>
          <ac:spMkLst>
            <pc:docMk/>
            <pc:sldMk cId="2076058816" sldId="282"/>
            <ac:spMk id="21" creationId="{88898C4E-D74B-4F28-B7F6-EC28D824CCEB}"/>
          </ac:spMkLst>
        </pc:spChg>
        <pc:spChg chg="mod">
          <ac:chgData name="Thomas Stensitzki" userId="75cafe6b-2f2a-469b-85c4-eec3b9c972ba" providerId="ADAL" clId="{06E14ABF-FC4C-4B98-B2A4-DF762ED946F2}" dt="2019-04-02T17:26:05.056" v="998" actId="790"/>
          <ac:spMkLst>
            <pc:docMk/>
            <pc:sldMk cId="2076058816" sldId="282"/>
            <ac:spMk id="23" creationId="{49DE02D2-6748-4EE7-AD30-C4DB65312E5F}"/>
          </ac:spMkLst>
        </pc:spChg>
        <pc:spChg chg="mod">
          <ac:chgData name="Thomas Stensitzki" userId="75cafe6b-2f2a-469b-85c4-eec3b9c972ba" providerId="ADAL" clId="{06E14ABF-FC4C-4B98-B2A4-DF762ED946F2}" dt="2019-04-02T17:26:05.060" v="999" actId="790"/>
          <ac:spMkLst>
            <pc:docMk/>
            <pc:sldMk cId="2076058816" sldId="282"/>
            <ac:spMk id="24" creationId="{DB3D38A3-127B-4F9D-89BC-00350A649331}"/>
          </ac:spMkLst>
        </pc:spChg>
        <pc:spChg chg="mod">
          <ac:chgData name="Thomas Stensitzki" userId="75cafe6b-2f2a-469b-85c4-eec3b9c972ba" providerId="ADAL" clId="{06E14ABF-FC4C-4B98-B2A4-DF762ED946F2}" dt="2019-04-02T17:26:05.062" v="1000" actId="790"/>
          <ac:spMkLst>
            <pc:docMk/>
            <pc:sldMk cId="2076058816" sldId="282"/>
            <ac:spMk id="25" creationId="{5BAB1F16-2015-4D89-BE8A-007F6662A732}"/>
          </ac:spMkLst>
        </pc:spChg>
        <pc:spChg chg="mod">
          <ac:chgData name="Thomas Stensitzki" userId="75cafe6b-2f2a-469b-85c4-eec3b9c972ba" providerId="ADAL" clId="{06E14ABF-FC4C-4B98-B2A4-DF762ED946F2}" dt="2019-04-02T17:26:05.064" v="1001" actId="790"/>
          <ac:spMkLst>
            <pc:docMk/>
            <pc:sldMk cId="2076058816" sldId="282"/>
            <ac:spMk id="26" creationId="{AD8D6003-2C10-43BD-8707-D1534FC04D52}"/>
          </ac:spMkLst>
        </pc:spChg>
        <pc:spChg chg="mod">
          <ac:chgData name="Thomas Stensitzki" userId="75cafe6b-2f2a-469b-85c4-eec3b9c972ba" providerId="ADAL" clId="{06E14ABF-FC4C-4B98-B2A4-DF762ED946F2}" dt="2019-04-02T17:26:05.066" v="1002" actId="790"/>
          <ac:spMkLst>
            <pc:docMk/>
            <pc:sldMk cId="2076058816" sldId="282"/>
            <ac:spMk id="28" creationId="{98338748-2107-4BB3-BC6A-7A164AEFB071}"/>
          </ac:spMkLst>
        </pc:spChg>
        <pc:spChg chg="mod">
          <ac:chgData name="Thomas Stensitzki" userId="75cafe6b-2f2a-469b-85c4-eec3b9c972ba" providerId="ADAL" clId="{06E14ABF-FC4C-4B98-B2A4-DF762ED946F2}" dt="2019-04-02T17:26:05.068" v="1003" actId="790"/>
          <ac:spMkLst>
            <pc:docMk/>
            <pc:sldMk cId="2076058816" sldId="282"/>
            <ac:spMk id="29" creationId="{8B8EF847-031A-4DF2-88BD-8FC26FBC1F1A}"/>
          </ac:spMkLst>
        </pc:spChg>
        <pc:spChg chg="mod">
          <ac:chgData name="Thomas Stensitzki" userId="75cafe6b-2f2a-469b-85c4-eec3b9c972ba" providerId="ADAL" clId="{06E14ABF-FC4C-4B98-B2A4-DF762ED946F2}" dt="2019-04-02T17:26:05.070" v="1004" actId="790"/>
          <ac:spMkLst>
            <pc:docMk/>
            <pc:sldMk cId="2076058816" sldId="282"/>
            <ac:spMk id="33" creationId="{D5D450FA-28D8-4E59-A96F-FD020227EC24}"/>
          </ac:spMkLst>
        </pc:spChg>
        <pc:spChg chg="mod">
          <ac:chgData name="Thomas Stensitzki" userId="75cafe6b-2f2a-469b-85c4-eec3b9c972ba" providerId="ADAL" clId="{06E14ABF-FC4C-4B98-B2A4-DF762ED946F2}" dt="2019-04-02T17:26:05.072" v="1005" actId="790"/>
          <ac:spMkLst>
            <pc:docMk/>
            <pc:sldMk cId="2076058816" sldId="282"/>
            <ac:spMk id="34" creationId="{9C35CE43-7AB8-44BC-B35B-37EDE8CE88A6}"/>
          </ac:spMkLst>
        </pc:spChg>
        <pc:spChg chg="mod">
          <ac:chgData name="Thomas Stensitzki" userId="75cafe6b-2f2a-469b-85c4-eec3b9c972ba" providerId="ADAL" clId="{06E14ABF-FC4C-4B98-B2A4-DF762ED946F2}" dt="2019-04-02T17:26:05.075" v="1006" actId="790"/>
          <ac:spMkLst>
            <pc:docMk/>
            <pc:sldMk cId="2076058816" sldId="282"/>
            <ac:spMk id="35" creationId="{6A638919-5A09-4503-93FD-8BC21AC1C029}"/>
          </ac:spMkLst>
        </pc:spChg>
        <pc:spChg chg="mod">
          <ac:chgData name="Thomas Stensitzki" userId="75cafe6b-2f2a-469b-85c4-eec3b9c972ba" providerId="ADAL" clId="{06E14ABF-FC4C-4B98-B2A4-DF762ED946F2}" dt="2019-04-02T17:26:05.077" v="1007" actId="790"/>
          <ac:spMkLst>
            <pc:docMk/>
            <pc:sldMk cId="2076058816" sldId="282"/>
            <ac:spMk id="36" creationId="{31291AD7-42E1-4B97-B473-D91F0775BDB6}"/>
          </ac:spMkLst>
        </pc:spChg>
        <pc:spChg chg="mod">
          <ac:chgData name="Thomas Stensitzki" userId="75cafe6b-2f2a-469b-85c4-eec3b9c972ba" providerId="ADAL" clId="{06E14ABF-FC4C-4B98-B2A4-DF762ED946F2}" dt="2019-04-02T17:26:05.079" v="1008" actId="790"/>
          <ac:spMkLst>
            <pc:docMk/>
            <pc:sldMk cId="2076058816" sldId="282"/>
            <ac:spMk id="37" creationId="{3F650D61-57EF-4706-A8F8-AE278FCC1261}"/>
          </ac:spMkLst>
        </pc:spChg>
        <pc:spChg chg="mod">
          <ac:chgData name="Thomas Stensitzki" userId="75cafe6b-2f2a-469b-85c4-eec3b9c972ba" providerId="ADAL" clId="{06E14ABF-FC4C-4B98-B2A4-DF762ED946F2}" dt="2019-04-02T17:26:05.081" v="1009" actId="790"/>
          <ac:spMkLst>
            <pc:docMk/>
            <pc:sldMk cId="2076058816" sldId="282"/>
            <ac:spMk id="38" creationId="{DECD7FCF-EB08-4122-8A1B-F1B63E45EA58}"/>
          </ac:spMkLst>
        </pc:spChg>
        <pc:spChg chg="mod">
          <ac:chgData name="Thomas Stensitzki" userId="75cafe6b-2f2a-469b-85c4-eec3b9c972ba" providerId="ADAL" clId="{06E14ABF-FC4C-4B98-B2A4-DF762ED946F2}" dt="2019-04-02T17:26:05.082" v="1010" actId="790"/>
          <ac:spMkLst>
            <pc:docMk/>
            <pc:sldMk cId="2076058816" sldId="282"/>
            <ac:spMk id="40" creationId="{781B81E8-CED1-42DB-B223-9EDB5CA114D3}"/>
          </ac:spMkLst>
        </pc:spChg>
        <pc:spChg chg="mod">
          <ac:chgData name="Thomas Stensitzki" userId="75cafe6b-2f2a-469b-85c4-eec3b9c972ba" providerId="ADAL" clId="{06E14ABF-FC4C-4B98-B2A4-DF762ED946F2}" dt="2019-04-02T17:26:05.084" v="1011" actId="790"/>
          <ac:spMkLst>
            <pc:docMk/>
            <pc:sldMk cId="2076058816" sldId="282"/>
            <ac:spMk id="41" creationId="{FB7D20D8-3C3F-4806-ACBA-E628FF971B08}"/>
          </ac:spMkLst>
        </pc:spChg>
        <pc:spChg chg="mod">
          <ac:chgData name="Thomas Stensitzki" userId="75cafe6b-2f2a-469b-85c4-eec3b9c972ba" providerId="ADAL" clId="{06E14ABF-FC4C-4B98-B2A4-DF762ED946F2}" dt="2019-04-02T17:26:05.086" v="1012" actId="790"/>
          <ac:spMkLst>
            <pc:docMk/>
            <pc:sldMk cId="2076058816" sldId="282"/>
            <ac:spMk id="42" creationId="{06DD31FF-6956-4F84-8D30-8070BD980457}"/>
          </ac:spMkLst>
        </pc:spChg>
        <pc:spChg chg="mod">
          <ac:chgData name="Thomas Stensitzki" userId="75cafe6b-2f2a-469b-85c4-eec3b9c972ba" providerId="ADAL" clId="{06E14ABF-FC4C-4B98-B2A4-DF762ED946F2}" dt="2019-04-02T17:26:05.088" v="1013" actId="790"/>
          <ac:spMkLst>
            <pc:docMk/>
            <pc:sldMk cId="2076058816" sldId="282"/>
            <ac:spMk id="43" creationId="{4F89ED60-1566-4817-9981-0A78D579EBDB}"/>
          </ac:spMkLst>
        </pc:spChg>
        <pc:spChg chg="mod">
          <ac:chgData name="Thomas Stensitzki" userId="75cafe6b-2f2a-469b-85c4-eec3b9c972ba" providerId="ADAL" clId="{06E14ABF-FC4C-4B98-B2A4-DF762ED946F2}" dt="2019-04-02T17:26:05.091" v="1014" actId="790"/>
          <ac:spMkLst>
            <pc:docMk/>
            <pc:sldMk cId="2076058816" sldId="282"/>
            <ac:spMk id="45" creationId="{5B09679F-48D1-4721-9CBF-9F92DCBFBFCA}"/>
          </ac:spMkLst>
        </pc:spChg>
        <pc:spChg chg="mod">
          <ac:chgData name="Thomas Stensitzki" userId="75cafe6b-2f2a-469b-85c4-eec3b9c972ba" providerId="ADAL" clId="{06E14ABF-FC4C-4B98-B2A4-DF762ED946F2}" dt="2019-04-02T17:26:05.092" v="1015" actId="790"/>
          <ac:spMkLst>
            <pc:docMk/>
            <pc:sldMk cId="2076058816" sldId="282"/>
            <ac:spMk id="46" creationId="{DE52D1CD-115F-4A21-B7E5-B2A105C68E0E}"/>
          </ac:spMkLst>
        </pc:spChg>
        <pc:spChg chg="mod">
          <ac:chgData name="Thomas Stensitzki" userId="75cafe6b-2f2a-469b-85c4-eec3b9c972ba" providerId="ADAL" clId="{06E14ABF-FC4C-4B98-B2A4-DF762ED946F2}" dt="2019-04-02T17:26:05.095" v="1016" actId="790"/>
          <ac:spMkLst>
            <pc:docMk/>
            <pc:sldMk cId="2076058816" sldId="282"/>
            <ac:spMk id="50" creationId="{5B95665D-10AA-49D4-A0A9-F9060D2DA492}"/>
          </ac:spMkLst>
        </pc:spChg>
        <pc:spChg chg="mod">
          <ac:chgData name="Thomas Stensitzki" userId="75cafe6b-2f2a-469b-85c4-eec3b9c972ba" providerId="ADAL" clId="{06E14ABF-FC4C-4B98-B2A4-DF762ED946F2}" dt="2019-04-02T17:26:05.097" v="1017" actId="790"/>
          <ac:spMkLst>
            <pc:docMk/>
            <pc:sldMk cId="2076058816" sldId="282"/>
            <ac:spMk id="51" creationId="{0D8805D8-B719-47DD-A4E5-047C98F400D5}"/>
          </ac:spMkLst>
        </pc:spChg>
        <pc:spChg chg="mod">
          <ac:chgData name="Thomas Stensitzki" userId="75cafe6b-2f2a-469b-85c4-eec3b9c972ba" providerId="ADAL" clId="{06E14ABF-FC4C-4B98-B2A4-DF762ED946F2}" dt="2019-04-02T17:26:05.098" v="1018" actId="790"/>
          <ac:spMkLst>
            <pc:docMk/>
            <pc:sldMk cId="2076058816" sldId="282"/>
            <ac:spMk id="52" creationId="{7C20E34F-687E-41C9-9A72-B64C84167C6A}"/>
          </ac:spMkLst>
        </pc:spChg>
        <pc:spChg chg="mod">
          <ac:chgData name="Thomas Stensitzki" userId="75cafe6b-2f2a-469b-85c4-eec3b9c972ba" providerId="ADAL" clId="{06E14ABF-FC4C-4B98-B2A4-DF762ED946F2}" dt="2019-04-02T17:26:05.101" v="1019" actId="790"/>
          <ac:spMkLst>
            <pc:docMk/>
            <pc:sldMk cId="2076058816" sldId="282"/>
            <ac:spMk id="53" creationId="{F6D1AD72-B419-4BD2-B735-2B615CC51905}"/>
          </ac:spMkLst>
        </pc:spChg>
        <pc:spChg chg="mod">
          <ac:chgData name="Thomas Stensitzki" userId="75cafe6b-2f2a-469b-85c4-eec3b9c972ba" providerId="ADAL" clId="{06E14ABF-FC4C-4B98-B2A4-DF762ED946F2}" dt="2019-04-02T17:26:05.102" v="1020" actId="790"/>
          <ac:spMkLst>
            <pc:docMk/>
            <pc:sldMk cId="2076058816" sldId="282"/>
            <ac:spMk id="54" creationId="{59D06D6B-8480-4215-B570-5503A0D2655C}"/>
          </ac:spMkLst>
        </pc:spChg>
        <pc:spChg chg="mod">
          <ac:chgData name="Thomas Stensitzki" userId="75cafe6b-2f2a-469b-85c4-eec3b9c972ba" providerId="ADAL" clId="{06E14ABF-FC4C-4B98-B2A4-DF762ED946F2}" dt="2019-04-02T17:26:05.104" v="1021" actId="790"/>
          <ac:spMkLst>
            <pc:docMk/>
            <pc:sldMk cId="2076058816" sldId="282"/>
            <ac:spMk id="55" creationId="{425F537C-74F2-42B1-A79A-6C2CEA2970FB}"/>
          </ac:spMkLst>
        </pc:spChg>
        <pc:spChg chg="mod">
          <ac:chgData name="Thomas Stensitzki" userId="75cafe6b-2f2a-469b-85c4-eec3b9c972ba" providerId="ADAL" clId="{06E14ABF-FC4C-4B98-B2A4-DF762ED946F2}" dt="2019-04-02T17:26:05.107" v="1022" actId="790"/>
          <ac:spMkLst>
            <pc:docMk/>
            <pc:sldMk cId="2076058816" sldId="282"/>
            <ac:spMk id="57" creationId="{F0D23161-135A-4AF1-BB75-76C5570F5AE3}"/>
          </ac:spMkLst>
        </pc:spChg>
        <pc:spChg chg="mod ord">
          <ac:chgData name="Thomas Stensitzki" userId="75cafe6b-2f2a-469b-85c4-eec3b9c972ba" providerId="ADAL" clId="{06E14ABF-FC4C-4B98-B2A4-DF762ED946F2}" dt="2019-04-02T19:51:02.407" v="2972" actId="20577"/>
          <ac:spMkLst>
            <pc:docMk/>
            <pc:sldMk cId="2076058816" sldId="282"/>
            <ac:spMk id="58" creationId="{08A83926-97E0-4CB6-BC56-C92F6B3769A9}"/>
          </ac:spMkLst>
        </pc:spChg>
        <pc:spChg chg="mod">
          <ac:chgData name="Thomas Stensitzki" userId="75cafe6b-2f2a-469b-85c4-eec3b9c972ba" providerId="ADAL" clId="{06E14ABF-FC4C-4B98-B2A4-DF762ED946F2}" dt="2019-04-02T17:26:05.112" v="1024" actId="790"/>
          <ac:spMkLst>
            <pc:docMk/>
            <pc:sldMk cId="2076058816" sldId="282"/>
            <ac:spMk id="59" creationId="{F4249D3C-4940-4FF7-AA8A-2C36009823B5}"/>
          </ac:spMkLst>
        </pc:spChg>
        <pc:spChg chg="mod">
          <ac:chgData name="Thomas Stensitzki" userId="75cafe6b-2f2a-469b-85c4-eec3b9c972ba" providerId="ADAL" clId="{06E14ABF-FC4C-4B98-B2A4-DF762ED946F2}" dt="2019-04-02T19:52:19.600" v="2985" actId="6549"/>
          <ac:spMkLst>
            <pc:docMk/>
            <pc:sldMk cId="2076058816" sldId="282"/>
            <ac:spMk id="60" creationId="{81C9ADC1-2CE7-4682-A319-6793A5EBA91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2" creationId="{24341E35-70FD-4129-9826-7F588729EDA1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3" creationId="{10759A39-52EB-4C11-9484-7B43D00FB933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7" creationId="{55C124C0-2B5D-403A-85A0-34320BB20EC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8" creationId="{9678DCC1-5B6F-4DC1-8286-5B02F7CA789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9" creationId="{B8E5794B-BCD0-4F5E-93B4-F68EF2C964BC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0" creationId="{429BA588-CFFD-4779-B12C-F1058B9F3609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1" creationId="{1E156875-94A0-47DE-9825-76ED3A9F09E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2" creationId="{E767ED92-B7DC-423F-9511-1D5F8C3D3574}"/>
          </ac:spMkLst>
        </pc:spChg>
        <pc:spChg chg="mod">
          <ac:chgData name="Thomas Stensitzki" userId="75cafe6b-2f2a-469b-85c4-eec3b9c972ba" providerId="ADAL" clId="{06E14ABF-FC4C-4B98-B2A4-DF762ED946F2}" dt="2019-04-02T17:26:05.131" v="1034"/>
          <ac:spMkLst>
            <pc:docMk/>
            <pc:sldMk cId="2076058816" sldId="282"/>
            <ac:spMk id="73" creationId="{6B8A3B69-F8E5-403B-9A81-038D693ABD23}"/>
          </ac:spMkLst>
        </pc:spChg>
        <pc:spChg chg="mod">
          <ac:chgData name="Thomas Stensitzki" userId="75cafe6b-2f2a-469b-85c4-eec3b9c972ba" providerId="ADAL" clId="{06E14ABF-FC4C-4B98-B2A4-DF762ED946F2}" dt="2019-04-02T19:52:52.175" v="3021" actId="20577"/>
          <ac:spMkLst>
            <pc:docMk/>
            <pc:sldMk cId="2076058816" sldId="282"/>
            <ac:spMk id="74" creationId="{B0534B11-814E-4AD9-AE56-DBC2FED68A07}"/>
          </ac:spMkLst>
        </pc:spChg>
        <pc:spChg chg="mod">
          <ac:chgData name="Thomas Stensitzki" userId="75cafe6b-2f2a-469b-85c4-eec3b9c972ba" providerId="ADAL" clId="{06E14ABF-FC4C-4B98-B2A4-DF762ED946F2}" dt="2019-04-02T17:26:05.138" v="1036" actId="790"/>
          <ac:spMkLst>
            <pc:docMk/>
            <pc:sldMk cId="2076058816" sldId="282"/>
            <ac:spMk id="76" creationId="{2FF4152D-4100-44A5-B7FF-7C5583EEB81C}"/>
          </ac:spMkLst>
        </pc:spChg>
        <pc:spChg chg="mod">
          <ac:chgData name="Thomas Stensitzki" userId="75cafe6b-2f2a-469b-85c4-eec3b9c972ba" providerId="ADAL" clId="{06E14ABF-FC4C-4B98-B2A4-DF762ED946F2}" dt="2019-04-02T17:26:05.141" v="1037" actId="790"/>
          <ac:spMkLst>
            <pc:docMk/>
            <pc:sldMk cId="2076058816" sldId="282"/>
            <ac:spMk id="77" creationId="{BC269410-790F-4A5A-9013-FE886CD3B3C9}"/>
          </ac:spMkLst>
        </pc:spChg>
        <pc:spChg chg="mod">
          <ac:chgData name="Thomas Stensitzki" userId="75cafe6b-2f2a-469b-85c4-eec3b9c972ba" providerId="ADAL" clId="{06E14ABF-FC4C-4B98-B2A4-DF762ED946F2}" dt="2019-04-02T17:26:05.146" v="1040" actId="790"/>
          <ac:spMkLst>
            <pc:docMk/>
            <pc:sldMk cId="2076058816" sldId="282"/>
            <ac:spMk id="80" creationId="{124AF9B2-DF95-4B77-9A73-34597B088C3F}"/>
          </ac:spMkLst>
        </pc:spChg>
        <pc:spChg chg="mod">
          <ac:chgData name="Thomas Stensitzki" userId="75cafe6b-2f2a-469b-85c4-eec3b9c972ba" providerId="ADAL" clId="{06E14ABF-FC4C-4B98-B2A4-DF762ED946F2}" dt="2019-04-02T17:26:05.142" v="1038" actId="790"/>
          <ac:spMkLst>
            <pc:docMk/>
            <pc:sldMk cId="2076058816" sldId="282"/>
            <ac:spMk id="81" creationId="{237464FC-322F-4F59-9369-3EBBE6AC0979}"/>
          </ac:spMkLst>
        </pc:spChg>
        <pc:spChg chg="mod">
          <ac:chgData name="Thomas Stensitzki" userId="75cafe6b-2f2a-469b-85c4-eec3b9c972ba" providerId="ADAL" clId="{06E14ABF-FC4C-4B98-B2A4-DF762ED946F2}" dt="2019-04-02T17:26:05.144" v="1039" actId="790"/>
          <ac:spMkLst>
            <pc:docMk/>
            <pc:sldMk cId="2076058816" sldId="282"/>
            <ac:spMk id="82" creationId="{5D90401D-74B5-45B8-B40F-92D50D702935}"/>
          </ac:spMkLst>
        </pc:spChg>
        <pc:spChg chg="mod">
          <ac:chgData name="Thomas Stensitzki" userId="75cafe6b-2f2a-469b-85c4-eec3b9c972ba" providerId="ADAL" clId="{06E14ABF-FC4C-4B98-B2A4-DF762ED946F2}" dt="2019-04-02T19:50:03.782" v="2949" actId="14100"/>
          <ac:spMkLst>
            <pc:docMk/>
            <pc:sldMk cId="2076058816" sldId="282"/>
            <ac:spMk id="84" creationId="{61CE350B-0A94-40FA-B41F-C21330060B0D}"/>
          </ac:spMkLst>
        </pc:spChg>
        <pc:spChg chg="mod">
          <ac:chgData name="Thomas Stensitzki" userId="75cafe6b-2f2a-469b-85c4-eec3b9c972ba" providerId="ADAL" clId="{06E14ABF-FC4C-4B98-B2A4-DF762ED946F2}" dt="2019-04-02T17:26:05.160" v="1045"/>
          <ac:spMkLst>
            <pc:docMk/>
            <pc:sldMk cId="2076058816" sldId="282"/>
            <ac:spMk id="85" creationId="{F1416382-28DA-4559-8ABC-B25685AE9050}"/>
          </ac:spMkLst>
        </pc:spChg>
        <pc:spChg chg="mod">
          <ac:chgData name="Thomas Stensitzki" userId="75cafe6b-2f2a-469b-85c4-eec3b9c972ba" providerId="ADAL" clId="{06E14ABF-FC4C-4B98-B2A4-DF762ED946F2}" dt="2019-04-02T17:26:05.161" v="1046"/>
          <ac:spMkLst>
            <pc:docMk/>
            <pc:sldMk cId="2076058816" sldId="282"/>
            <ac:spMk id="86" creationId="{D178F1CD-43EE-4744-9ECF-9A31C10D9347}"/>
          </ac:spMkLst>
        </pc:spChg>
        <pc:spChg chg="mod">
          <ac:chgData name="Thomas Stensitzki" userId="75cafe6b-2f2a-469b-85c4-eec3b9c972ba" providerId="ADAL" clId="{06E14ABF-FC4C-4B98-B2A4-DF762ED946F2}" dt="2019-04-02T17:26:05.162" v="1047"/>
          <ac:spMkLst>
            <pc:docMk/>
            <pc:sldMk cId="2076058816" sldId="282"/>
            <ac:spMk id="87" creationId="{0EE4406A-4E24-4817-819B-DCD06967BC67}"/>
          </ac:spMkLst>
        </pc:spChg>
        <pc:spChg chg="mod">
          <ac:chgData name="Thomas Stensitzki" userId="75cafe6b-2f2a-469b-85c4-eec3b9c972ba" providerId="ADAL" clId="{06E14ABF-FC4C-4B98-B2A4-DF762ED946F2}" dt="2019-04-02T19:50:12.361" v="2960" actId="14100"/>
          <ac:spMkLst>
            <pc:docMk/>
            <pc:sldMk cId="2076058816" sldId="282"/>
            <ac:spMk id="88" creationId="{99F84343-C15C-4877-B557-3C3C879E611D}"/>
          </ac:spMkLst>
        </pc:spChg>
        <pc:spChg chg="mod">
          <ac:chgData name="Thomas Stensitzki" userId="75cafe6b-2f2a-469b-85c4-eec3b9c972ba" providerId="ADAL" clId="{06E14ABF-FC4C-4B98-B2A4-DF762ED946F2}" dt="2019-04-02T17:26:05.168" v="1049"/>
          <ac:spMkLst>
            <pc:docMk/>
            <pc:sldMk cId="2076058816" sldId="282"/>
            <ac:spMk id="89" creationId="{51F8C5DD-2B6E-49F2-BEE8-50470122C9B7}"/>
          </ac:spMkLst>
        </pc:spChg>
        <pc:spChg chg="mod">
          <ac:chgData name="Thomas Stensitzki" userId="75cafe6b-2f2a-469b-85c4-eec3b9c972ba" providerId="ADAL" clId="{06E14ABF-FC4C-4B98-B2A4-DF762ED946F2}" dt="2019-04-02T17:26:05.169" v="1050"/>
          <ac:spMkLst>
            <pc:docMk/>
            <pc:sldMk cId="2076058816" sldId="282"/>
            <ac:spMk id="90" creationId="{841869D8-A9E9-42C7-A91E-7167793A4A11}"/>
          </ac:spMkLst>
        </pc:spChg>
        <pc:spChg chg="mod">
          <ac:chgData name="Thomas Stensitzki" userId="75cafe6b-2f2a-469b-85c4-eec3b9c972ba" providerId="ADAL" clId="{06E14ABF-FC4C-4B98-B2A4-DF762ED946F2}" dt="2019-04-02T17:26:05.170" v="1051"/>
          <ac:spMkLst>
            <pc:docMk/>
            <pc:sldMk cId="2076058816" sldId="282"/>
            <ac:spMk id="91" creationId="{A3CDB667-CD11-45C7-8963-3437A0AF093D}"/>
          </ac:spMkLst>
        </pc:spChg>
        <pc:spChg chg="mod">
          <ac:chgData name="Thomas Stensitzki" userId="75cafe6b-2f2a-469b-85c4-eec3b9c972ba" providerId="ADAL" clId="{06E14ABF-FC4C-4B98-B2A4-DF762ED946F2}" dt="2019-04-02T17:26:05.171" v="1052"/>
          <ac:spMkLst>
            <pc:docMk/>
            <pc:sldMk cId="2076058816" sldId="282"/>
            <ac:spMk id="92" creationId="{06FA877B-2CB6-462C-9955-7FD175834F4A}"/>
          </ac:spMkLst>
        </pc:spChg>
        <pc:spChg chg="mod">
          <ac:chgData name="Thomas Stensitzki" userId="75cafe6b-2f2a-469b-85c4-eec3b9c972ba" providerId="ADAL" clId="{06E14ABF-FC4C-4B98-B2A4-DF762ED946F2}" dt="2019-04-02T17:26:05.173" v="1053"/>
          <ac:spMkLst>
            <pc:docMk/>
            <pc:sldMk cId="2076058816" sldId="282"/>
            <ac:spMk id="93" creationId="{3265F057-6EB8-4A72-8E8A-6E181DA737F8}"/>
          </ac:spMkLst>
        </pc:spChg>
        <pc:spChg chg="mod">
          <ac:chgData name="Thomas Stensitzki" userId="75cafe6b-2f2a-469b-85c4-eec3b9c972ba" providerId="ADAL" clId="{06E14ABF-FC4C-4B98-B2A4-DF762ED946F2}" dt="2019-04-02T17:26:05.175" v="1054" actId="790"/>
          <ac:spMkLst>
            <pc:docMk/>
            <pc:sldMk cId="2076058816" sldId="282"/>
            <ac:spMk id="94" creationId="{0DEA660C-1826-4768-8E5C-682111DA8C6A}"/>
          </ac:spMkLst>
        </pc:spChg>
        <pc:spChg chg="mod">
          <ac:chgData name="Thomas Stensitzki" userId="75cafe6b-2f2a-469b-85c4-eec3b9c972ba" providerId="ADAL" clId="{06E14ABF-FC4C-4B98-B2A4-DF762ED946F2}" dt="2019-04-02T17:26:05.178" v="1055" actId="790"/>
          <ac:spMkLst>
            <pc:docMk/>
            <pc:sldMk cId="2076058816" sldId="282"/>
            <ac:spMk id="95" creationId="{63A18CDE-34AC-41AF-AFAC-F531728C652A}"/>
          </ac:spMkLst>
        </pc:spChg>
        <pc:spChg chg="mod">
          <ac:chgData name="Thomas Stensitzki" userId="75cafe6b-2f2a-469b-85c4-eec3b9c972ba" providerId="ADAL" clId="{06E14ABF-FC4C-4B98-B2A4-DF762ED946F2}" dt="2019-04-02T17:26:05.179" v="1056"/>
          <ac:spMkLst>
            <pc:docMk/>
            <pc:sldMk cId="2076058816" sldId="282"/>
            <ac:spMk id="96" creationId="{40476321-C2FE-44C0-BCCD-A2BDB3E4D864}"/>
          </ac:spMkLst>
        </pc:spChg>
        <pc:spChg chg="mod">
          <ac:chgData name="Thomas Stensitzki" userId="75cafe6b-2f2a-469b-85c4-eec3b9c972ba" providerId="ADAL" clId="{06E14ABF-FC4C-4B98-B2A4-DF762ED946F2}" dt="2019-04-02T17:26:05.180" v="1057"/>
          <ac:spMkLst>
            <pc:docMk/>
            <pc:sldMk cId="2076058816" sldId="282"/>
            <ac:spMk id="97" creationId="{8E08CAA7-5D90-45E7-A66B-C21D5FDA1F0F}"/>
          </ac:spMkLst>
        </pc:spChg>
        <pc:spChg chg="mod">
          <ac:chgData name="Thomas Stensitzki" userId="75cafe6b-2f2a-469b-85c4-eec3b9c972ba" providerId="ADAL" clId="{06E14ABF-FC4C-4B98-B2A4-DF762ED946F2}" dt="2019-04-02T17:26:05.181" v="1058"/>
          <ac:spMkLst>
            <pc:docMk/>
            <pc:sldMk cId="2076058816" sldId="282"/>
            <ac:spMk id="98" creationId="{8E409079-33B3-4CC2-BE26-2CAC31149078}"/>
          </ac:spMkLst>
        </pc:spChg>
        <pc:spChg chg="mod">
          <ac:chgData name="Thomas Stensitzki" userId="75cafe6b-2f2a-469b-85c4-eec3b9c972ba" providerId="ADAL" clId="{06E14ABF-FC4C-4B98-B2A4-DF762ED946F2}" dt="2019-04-02T17:26:05.182" v="1059"/>
          <ac:spMkLst>
            <pc:docMk/>
            <pc:sldMk cId="2076058816" sldId="282"/>
            <ac:spMk id="99" creationId="{1F45599B-18C7-4B05-8F3D-F9C1BAD42F46}"/>
          </ac:spMkLst>
        </pc:spChg>
        <pc:graphicFrameChg chg="modGraphic">
          <ac:chgData name="Thomas Stensitzki" userId="75cafe6b-2f2a-469b-85c4-eec3b9c972ba" providerId="ADAL" clId="{06E14ABF-FC4C-4B98-B2A4-DF762ED946F2}" dt="2019-04-02T19:52:42.039" v="3003" actId="20577"/>
          <ac:graphicFrameMkLst>
            <pc:docMk/>
            <pc:sldMk cId="2076058816" sldId="282"/>
            <ac:graphicFrameMk id="83" creationId="{F4F03CA6-908E-4432-948B-28BB92DC7E5D}"/>
          </ac:graphicFrameMkLst>
        </pc:graphicFrame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4" creationId="{9B95609C-5F35-4600-A744-426749373FC2}"/>
          </ac:picMkLst>
        </pc:pic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5" creationId="{1A20E820-2BF1-4821-96BA-B1A39854CAAD}"/>
          </ac:picMkLst>
        </pc:picChg>
        <pc:cxnChg chg="mod">
          <ac:chgData name="Thomas Stensitzki" userId="75cafe6b-2f2a-469b-85c4-eec3b9c972ba" providerId="ADAL" clId="{06E14ABF-FC4C-4B98-B2A4-DF762ED946F2}" dt="2019-04-02T19:51:11.880" v="2976" actId="1035"/>
          <ac:cxnSpMkLst>
            <pc:docMk/>
            <pc:sldMk cId="2076058816" sldId="282"/>
            <ac:cxnSpMk id="66" creationId="{2528A306-2450-490E-ABC2-0BB13EE29650}"/>
          </ac:cxnSpMkLst>
        </pc:cxnChg>
      </pc:sldChg>
      <pc:sldChg chg="modSp modNotes">
        <pc:chgData name="Thomas Stensitzki" userId="75cafe6b-2f2a-469b-85c4-eec3b9c972ba" providerId="ADAL" clId="{06E14ABF-FC4C-4B98-B2A4-DF762ED946F2}" dt="2019-04-02T19:54:44.111" v="3160" actId="20577"/>
        <pc:sldMkLst>
          <pc:docMk/>
          <pc:sldMk cId="2739882426" sldId="283"/>
        </pc:sldMkLst>
        <pc:spChg chg="mod">
          <ac:chgData name="Thomas Stensitzki" userId="75cafe6b-2f2a-469b-85c4-eec3b9c972ba" providerId="ADAL" clId="{06E14ABF-FC4C-4B98-B2A4-DF762ED946F2}" dt="2019-04-02T17:26:05.188" v="1062" actId="790"/>
          <ac:spMkLst>
            <pc:docMk/>
            <pc:sldMk cId="2739882426" sldId="28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4:44.111" v="3160" actId="20577"/>
          <ac:spMkLst>
            <pc:docMk/>
            <pc:sldMk cId="2739882426" sldId="28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01" v="1064" actId="790"/>
          <ac:spMkLst>
            <pc:docMk/>
            <pc:sldMk cId="2739882426" sldId="283"/>
            <ac:spMk id="4" creationId="{00000000-0000-0000-0000-000000000000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30.398" v="3166" actId="164"/>
        <pc:sldMkLst>
          <pc:docMk/>
          <pc:sldMk cId="3295375751" sldId="284"/>
        </pc:sldMkLst>
        <pc:spChg chg="mod">
          <ac:chgData name="Thomas Stensitzki" userId="75cafe6b-2f2a-469b-85c4-eec3b9c972ba" providerId="ADAL" clId="{06E14ABF-FC4C-4B98-B2A4-DF762ED946F2}" dt="2019-04-02T17:26:05.243" v="1079" actId="790"/>
          <ac:spMkLst>
            <pc:docMk/>
            <pc:sldMk cId="3295375751" sldId="28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5" v="1080" actId="790"/>
          <ac:spMkLst>
            <pc:docMk/>
            <pc:sldMk cId="3295375751" sldId="284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7" v="1081" actId="790"/>
          <ac:spMkLst>
            <pc:docMk/>
            <pc:sldMk cId="3295375751" sldId="284"/>
            <ac:spMk id="14" creationId="{BA23A442-04EB-40D3-83AF-C6FD11AC0586}"/>
          </ac:spMkLst>
        </pc:spChg>
        <pc:spChg chg="mod">
          <ac:chgData name="Thomas Stensitzki" userId="75cafe6b-2f2a-469b-85c4-eec3b9c972ba" providerId="ADAL" clId="{06E14ABF-FC4C-4B98-B2A4-DF762ED946F2}" dt="2019-04-02T17:26:05.249" v="1082" actId="790"/>
          <ac:spMkLst>
            <pc:docMk/>
            <pc:sldMk cId="3295375751" sldId="284"/>
            <ac:spMk id="17" creationId="{C63B20CF-D54B-47F0-B932-887BF7A5BEBE}"/>
          </ac:spMkLst>
        </pc:spChg>
        <pc:spChg chg="mod">
          <ac:chgData name="Thomas Stensitzki" userId="75cafe6b-2f2a-469b-85c4-eec3b9c972ba" providerId="ADAL" clId="{06E14ABF-FC4C-4B98-B2A4-DF762ED946F2}" dt="2019-04-02T19:55:27.242" v="3165" actId="164"/>
          <ac:spMkLst>
            <pc:docMk/>
            <pc:sldMk cId="3295375751" sldId="284"/>
            <ac:spMk id="19" creationId="{BDF63F04-AADF-4F68-BB8B-92D2FFD0D2BF}"/>
          </ac:spMkLst>
        </pc:spChg>
        <pc:spChg chg="mod">
          <ac:chgData name="Thomas Stensitzki" userId="75cafe6b-2f2a-469b-85c4-eec3b9c972ba" providerId="ADAL" clId="{06E14ABF-FC4C-4B98-B2A4-DF762ED946F2}" dt="2019-04-02T19:55:30.398" v="3166" actId="164"/>
          <ac:spMkLst>
            <pc:docMk/>
            <pc:sldMk cId="3295375751" sldId="284"/>
            <ac:spMk id="20" creationId="{D4F9EED7-40BF-41C8-AA9B-66FA82499416}"/>
          </ac:spMkLst>
        </pc:spChg>
        <pc:grpChg chg="add 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3" creationId="{A2850779-A0DF-4268-864A-7FC8EFE93588}"/>
          </ac:grpSpMkLst>
        </pc:grpChg>
        <pc:grpChg chg="add 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5" creationId="{0C5E8E26-497C-4C51-9175-5915C42B8928}"/>
          </ac:grpSpMkLst>
        </pc:grpChg>
        <pc:grpChg chg="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13" creationId="{228B5D5D-FDAA-488C-BAEA-52F6D1D1A349}"/>
          </ac:grpSpMkLst>
        </pc:grpChg>
        <pc:grpChg chg="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16" creationId="{0F3A16C1-E1A3-4BBA-A931-A367AFF40D75}"/>
          </ac:grpSpMkLst>
        </pc:grpChg>
      </pc:sldChg>
      <pc:sldChg chg="modSp modNotes">
        <pc:chgData name="Thomas Stensitzki" userId="75cafe6b-2f2a-469b-85c4-eec3b9c972ba" providerId="ADAL" clId="{06E14ABF-FC4C-4B98-B2A4-DF762ED946F2}" dt="2019-04-02T17:26:05.218" v="1070" actId="790"/>
        <pc:sldMkLst>
          <pc:docMk/>
          <pc:sldMk cId="3531332204" sldId="285"/>
        </pc:sldMkLst>
        <pc:spChg chg="mod">
          <ac:chgData name="Thomas Stensitzki" userId="75cafe6b-2f2a-469b-85c4-eec3b9c972ba" providerId="ADAL" clId="{06E14ABF-FC4C-4B98-B2A4-DF762ED946F2}" dt="2019-04-02T17:26:05.210" v="1067" actId="790"/>
          <ac:spMkLst>
            <pc:docMk/>
            <pc:sldMk cId="3531332204" sldId="285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213" v="1068" actId="790"/>
          <ac:spMkLst>
            <pc:docMk/>
            <pc:sldMk cId="3531332204" sldId="285"/>
            <ac:spMk id="6" creationId="{9D5FCE5E-BE6E-4AAA-BFE2-CADDE02D473C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21.452" v="3164" actId="164"/>
        <pc:sldMkLst>
          <pc:docMk/>
          <pc:sldMk cId="2572513754" sldId="286"/>
        </pc:sldMkLst>
        <pc:spChg chg="mod">
          <ac:chgData name="Thomas Stensitzki" userId="75cafe6b-2f2a-469b-85c4-eec3b9c972ba" providerId="ADAL" clId="{06E14ABF-FC4C-4B98-B2A4-DF762ED946F2}" dt="2019-04-02T17:26:05.220" v="1071" actId="790"/>
          <ac:spMkLst>
            <pc:docMk/>
            <pc:sldMk cId="2572513754" sldId="28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22" v="1072" actId="790"/>
          <ac:spMkLst>
            <pc:docMk/>
            <pc:sldMk cId="2572513754" sldId="286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5:07.463" v="3161" actId="164"/>
          <ac:spMkLst>
            <pc:docMk/>
            <pc:sldMk cId="2572513754" sldId="286"/>
            <ac:spMk id="9" creationId="{6A657B06-4764-4D8E-9D5B-0CBAB225C9D5}"/>
          </ac:spMkLst>
        </pc:spChg>
        <pc:spChg chg="mod">
          <ac:chgData name="Thomas Stensitzki" userId="75cafe6b-2f2a-469b-85c4-eec3b9c972ba" providerId="ADAL" clId="{06E14ABF-FC4C-4B98-B2A4-DF762ED946F2}" dt="2019-04-02T19:55:11.417" v="3162" actId="164"/>
          <ac:spMkLst>
            <pc:docMk/>
            <pc:sldMk cId="2572513754" sldId="286"/>
            <ac:spMk id="10" creationId="{D50396F0-ED50-46AA-AC8A-7E5053215AD3}"/>
          </ac:spMkLst>
        </pc:spChg>
        <pc:spChg chg="mod">
          <ac:chgData name="Thomas Stensitzki" userId="75cafe6b-2f2a-469b-85c4-eec3b9c972ba" providerId="ADAL" clId="{06E14ABF-FC4C-4B98-B2A4-DF762ED946F2}" dt="2019-04-02T19:55:15.915" v="3163" actId="164"/>
          <ac:spMkLst>
            <pc:docMk/>
            <pc:sldMk cId="2572513754" sldId="286"/>
            <ac:spMk id="11" creationId="{89E04351-525A-4C24-819F-B76A864665E0}"/>
          </ac:spMkLst>
        </pc:spChg>
        <pc:spChg chg="mod">
          <ac:chgData name="Thomas Stensitzki" userId="75cafe6b-2f2a-469b-85c4-eec3b9c972ba" providerId="ADAL" clId="{06E14ABF-FC4C-4B98-B2A4-DF762ED946F2}" dt="2019-04-02T19:55:21.452" v="3164" actId="164"/>
          <ac:spMkLst>
            <pc:docMk/>
            <pc:sldMk cId="2572513754" sldId="286"/>
            <ac:spMk id="12" creationId="{857619C1-8E4F-47DF-8BF7-080438FF52D1}"/>
          </ac:spMkLst>
        </pc:spChg>
        <pc:grpChg chg="add mod">
          <ac:chgData name="Thomas Stensitzki" userId="75cafe6b-2f2a-469b-85c4-eec3b9c972ba" providerId="ADAL" clId="{06E14ABF-FC4C-4B98-B2A4-DF762ED946F2}" dt="2019-04-02T19:55:07.463" v="3161" actId="164"/>
          <ac:grpSpMkLst>
            <pc:docMk/>
            <pc:sldMk cId="2572513754" sldId="286"/>
            <ac:grpSpMk id="3" creationId="{9E09BED0-6C09-4394-BCC9-2A9B99A26E88}"/>
          </ac:grpSpMkLst>
        </pc:grpChg>
        <pc:grpChg chg="add mod">
          <ac:chgData name="Thomas Stensitzki" userId="75cafe6b-2f2a-469b-85c4-eec3b9c972ba" providerId="ADAL" clId="{06E14ABF-FC4C-4B98-B2A4-DF762ED946F2}" dt="2019-04-02T19:55:11.417" v="3162" actId="164"/>
          <ac:grpSpMkLst>
            <pc:docMk/>
            <pc:sldMk cId="2572513754" sldId="286"/>
            <ac:grpSpMk id="13" creationId="{2C2F2596-8273-4867-A4E0-43DDF196B5CE}"/>
          </ac:grpSpMkLst>
        </pc:grpChg>
        <pc:grpChg chg="add mod">
          <ac:chgData name="Thomas Stensitzki" userId="75cafe6b-2f2a-469b-85c4-eec3b9c972ba" providerId="ADAL" clId="{06E14ABF-FC4C-4B98-B2A4-DF762ED946F2}" dt="2019-04-02T19:55:15.915" v="3163" actId="164"/>
          <ac:grpSpMkLst>
            <pc:docMk/>
            <pc:sldMk cId="2572513754" sldId="286"/>
            <ac:grpSpMk id="14" creationId="{D770057F-D943-4326-97C7-A3B9A642ABF3}"/>
          </ac:grpSpMkLst>
        </pc:grpChg>
        <pc:grpChg chg="add mod">
          <ac:chgData name="Thomas Stensitzki" userId="75cafe6b-2f2a-469b-85c4-eec3b9c972ba" providerId="ADAL" clId="{06E14ABF-FC4C-4B98-B2A4-DF762ED946F2}" dt="2019-04-02T19:55:21.452" v="3164" actId="164"/>
          <ac:grpSpMkLst>
            <pc:docMk/>
            <pc:sldMk cId="2572513754" sldId="286"/>
            <ac:grpSpMk id="15" creationId="{6EC01EBF-BBFE-49A8-8FC6-099D361AEF37}"/>
          </ac:grpSpMkLst>
        </pc:grpChg>
        <pc:picChg chg="mod">
          <ac:chgData name="Thomas Stensitzki" userId="75cafe6b-2f2a-469b-85c4-eec3b9c972ba" providerId="ADAL" clId="{06E14ABF-FC4C-4B98-B2A4-DF762ED946F2}" dt="2019-04-02T19:55:21.452" v="3164" actId="164"/>
          <ac:picMkLst>
            <pc:docMk/>
            <pc:sldMk cId="2572513754" sldId="286"/>
            <ac:picMk id="5" creationId="{007F7F51-56B5-4BFA-AFB0-7084762A0187}"/>
          </ac:picMkLst>
        </pc:picChg>
        <pc:picChg chg="mod">
          <ac:chgData name="Thomas Stensitzki" userId="75cafe6b-2f2a-469b-85c4-eec3b9c972ba" providerId="ADAL" clId="{06E14ABF-FC4C-4B98-B2A4-DF762ED946F2}" dt="2019-04-02T19:55:11.417" v="3162" actId="164"/>
          <ac:picMkLst>
            <pc:docMk/>
            <pc:sldMk cId="2572513754" sldId="286"/>
            <ac:picMk id="6" creationId="{F50379D1-416B-409C-864F-DA51FC038F2B}"/>
          </ac:picMkLst>
        </pc:picChg>
        <pc:picChg chg="mod">
          <ac:chgData name="Thomas Stensitzki" userId="75cafe6b-2f2a-469b-85c4-eec3b9c972ba" providerId="ADAL" clId="{06E14ABF-FC4C-4B98-B2A4-DF762ED946F2}" dt="2019-04-02T19:55:15.915" v="3163" actId="164"/>
          <ac:picMkLst>
            <pc:docMk/>
            <pc:sldMk cId="2572513754" sldId="286"/>
            <ac:picMk id="7" creationId="{F0380606-82E6-4380-B51E-F60F8CDAEDE3}"/>
          </ac:picMkLst>
        </pc:picChg>
        <pc:picChg chg="mod">
          <ac:chgData name="Thomas Stensitzki" userId="75cafe6b-2f2a-469b-85c4-eec3b9c972ba" providerId="ADAL" clId="{06E14ABF-FC4C-4B98-B2A4-DF762ED946F2}" dt="2019-04-02T19:55:07.463" v="3161" actId="164"/>
          <ac:picMkLst>
            <pc:docMk/>
            <pc:sldMk cId="2572513754" sldId="286"/>
            <ac:picMk id="8" creationId="{A874C571-2DDE-4D75-9253-ED16D25FD016}"/>
          </ac:picMkLst>
        </pc:picChg>
      </pc:sldChg>
      <pc:sldChg chg="addSp modSp modAnim modNotes">
        <pc:chgData name="Thomas Stensitzki" userId="75cafe6b-2f2a-469b-85c4-eec3b9c972ba" providerId="ADAL" clId="{06E14ABF-FC4C-4B98-B2A4-DF762ED946F2}" dt="2019-04-02T19:55:44.984" v="3168" actId="14100"/>
        <pc:sldMkLst>
          <pc:docMk/>
          <pc:sldMk cId="3746320788" sldId="287"/>
        </pc:sldMkLst>
        <pc:spChg chg="mod">
          <ac:chgData name="Thomas Stensitzki" userId="75cafe6b-2f2a-469b-85c4-eec3b9c972ba" providerId="ADAL" clId="{06E14ABF-FC4C-4B98-B2A4-DF762ED946F2}" dt="2019-04-02T17:26:05.263" v="1087" actId="790"/>
          <ac:spMkLst>
            <pc:docMk/>
            <pc:sldMk cId="3746320788" sldId="28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65" v="1088" actId="790"/>
          <ac:spMkLst>
            <pc:docMk/>
            <pc:sldMk cId="3746320788" sldId="287"/>
            <ac:spMk id="4" creationId="{00000000-0000-0000-0000-000000000000}"/>
          </ac:spMkLst>
        </pc:spChg>
        <pc:spChg chg="add mod">
          <ac:chgData name="Thomas Stensitzki" userId="75cafe6b-2f2a-469b-85c4-eec3b9c972ba" providerId="ADAL" clId="{06E14ABF-FC4C-4B98-B2A4-DF762ED946F2}" dt="2019-04-02T18:11:19.825" v="2134" actId="207"/>
          <ac:spMkLst>
            <pc:docMk/>
            <pc:sldMk cId="3746320788" sldId="287"/>
            <ac:spMk id="9" creationId="{D1821834-481A-4DBE-B40F-F13EF06B67E2}"/>
          </ac:spMkLst>
        </pc:spChg>
        <pc:spChg chg="mod">
          <ac:chgData name="Thomas Stensitzki" userId="75cafe6b-2f2a-469b-85c4-eec3b9c972ba" providerId="ADAL" clId="{06E14ABF-FC4C-4B98-B2A4-DF762ED946F2}" dt="2019-04-02T18:10:53.132" v="2126" actId="113"/>
          <ac:spMkLst>
            <pc:docMk/>
            <pc:sldMk cId="3746320788" sldId="287"/>
            <ac:spMk id="22" creationId="{EE9D4963-A7D7-436C-B50B-D2DFC97C0A65}"/>
          </ac:spMkLst>
        </pc:spChg>
        <pc:spChg chg="mod">
          <ac:chgData name="Thomas Stensitzki" userId="75cafe6b-2f2a-469b-85c4-eec3b9c972ba" providerId="ADAL" clId="{06E14ABF-FC4C-4B98-B2A4-DF762ED946F2}" dt="2019-04-02T19:55:44.984" v="3168" actId="14100"/>
          <ac:spMkLst>
            <pc:docMk/>
            <pc:sldMk cId="3746320788" sldId="287"/>
            <ac:spMk id="24" creationId="{4428AD4D-3546-48C9-9328-75F6DF9BC959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22:41.676" v="2779" actId="113"/>
        <pc:sldMkLst>
          <pc:docMk/>
          <pc:sldMk cId="3049271955" sldId="288"/>
        </pc:sldMkLst>
        <pc:spChg chg="mod">
          <ac:chgData name="Thomas Stensitzki" userId="75cafe6b-2f2a-469b-85c4-eec3b9c972ba" providerId="ADAL" clId="{06E14ABF-FC4C-4B98-B2A4-DF762ED946F2}" dt="2019-04-02T17:26:05.276" v="1093" actId="790"/>
          <ac:spMkLst>
            <pc:docMk/>
            <pc:sldMk cId="3049271955" sldId="28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22:41.676" v="2779" actId="113"/>
          <ac:spMkLst>
            <pc:docMk/>
            <pc:sldMk cId="3049271955" sldId="28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87" v="1095" actId="790"/>
          <ac:spMkLst>
            <pc:docMk/>
            <pc:sldMk cId="3049271955" sldId="288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41:58.981" v="1668" actId="1076"/>
          <ac:spMkLst>
            <pc:docMk/>
            <pc:sldMk cId="3049271955" sldId="288"/>
            <ac:spMk id="6" creationId="{4E5461E9-A8AB-4A5B-8526-DDFD4C63C783}"/>
          </ac:spMkLst>
        </pc:spChg>
        <pc:spChg chg="mod">
          <ac:chgData name="Thomas Stensitzki" userId="75cafe6b-2f2a-469b-85c4-eec3b9c972ba" providerId="ADAL" clId="{06E14ABF-FC4C-4B98-B2A4-DF762ED946F2}" dt="2019-04-02T17:42:08.142" v="1670" actId="1076"/>
          <ac:spMkLst>
            <pc:docMk/>
            <pc:sldMk cId="3049271955" sldId="288"/>
            <ac:spMk id="8" creationId="{376A0A1D-68E9-4F59-A2B0-C43C09D8D130}"/>
          </ac:spMkLst>
        </pc:spChg>
        <pc:spChg chg="mod">
          <ac:chgData name="Thomas Stensitzki" userId="75cafe6b-2f2a-469b-85c4-eec3b9c972ba" providerId="ADAL" clId="{06E14ABF-FC4C-4B98-B2A4-DF762ED946F2}" dt="2019-04-02T17:43:16.279" v="1687" actId="1076"/>
          <ac:spMkLst>
            <pc:docMk/>
            <pc:sldMk cId="3049271955" sldId="288"/>
            <ac:spMk id="10" creationId="{92BC81D2-6FB2-4CE1-ABA3-02A4627BB668}"/>
          </ac:spMkLst>
        </pc:spChg>
        <pc:graphicFrameChg chg="mod modGraphic">
          <ac:chgData name="Thomas Stensitzki" userId="75cafe6b-2f2a-469b-85c4-eec3b9c972ba" providerId="ADAL" clId="{06E14ABF-FC4C-4B98-B2A4-DF762ED946F2}" dt="2019-04-02T17:42:53.641" v="1676" actId="20577"/>
          <ac:graphicFrameMkLst>
            <pc:docMk/>
            <pc:sldMk cId="3049271955" sldId="288"/>
            <ac:graphicFrameMk id="5" creationId="{8D3CCCD3-0610-433F-B417-4C78AC156724}"/>
          </ac:graphicFrameMkLst>
        </pc:graphicFrameChg>
        <pc:graphicFrameChg chg="mod modGraphic">
          <ac:chgData name="Thomas Stensitzki" userId="75cafe6b-2f2a-469b-85c4-eec3b9c972ba" providerId="ADAL" clId="{06E14ABF-FC4C-4B98-B2A4-DF762ED946F2}" dt="2019-04-02T17:42:59.716" v="1678" actId="6549"/>
          <ac:graphicFrameMkLst>
            <pc:docMk/>
            <pc:sldMk cId="3049271955" sldId="288"/>
            <ac:graphicFrameMk id="7" creationId="{3488B4B5-5699-4B3A-B54F-FE5F013A84F2}"/>
          </ac:graphicFrameMkLst>
        </pc:graphicFrameChg>
        <pc:graphicFrameChg chg="modGraphic">
          <ac:chgData name="Thomas Stensitzki" userId="75cafe6b-2f2a-469b-85c4-eec3b9c972ba" providerId="ADAL" clId="{06E14ABF-FC4C-4B98-B2A4-DF762ED946F2}" dt="2019-04-02T17:43:03.538" v="1680" actId="6549"/>
          <ac:graphicFrameMkLst>
            <pc:docMk/>
            <pc:sldMk cId="3049271955" sldId="288"/>
            <ac:graphicFrameMk id="9" creationId="{4C7E3001-4E7A-45D2-9A3F-62F0818042CC}"/>
          </ac:graphicFrameMkLst>
        </pc:graphicFrameChg>
      </pc:sldChg>
      <pc:sldChg chg="modSp modNotes modNotesTx">
        <pc:chgData name="Thomas Stensitzki" userId="75cafe6b-2f2a-469b-85c4-eec3b9c972ba" providerId="ADAL" clId="{06E14ABF-FC4C-4B98-B2A4-DF762ED946F2}" dt="2019-04-02T19:56:10.460" v="3170" actId="27636"/>
        <pc:sldMkLst>
          <pc:docMk/>
          <pc:sldMk cId="3468189571" sldId="289"/>
        </pc:sldMkLst>
        <pc:spChg chg="mod">
          <ac:chgData name="Thomas Stensitzki" userId="75cafe6b-2f2a-469b-85c4-eec3b9c972ba" providerId="ADAL" clId="{06E14ABF-FC4C-4B98-B2A4-DF762ED946F2}" dt="2019-04-02T17:26:05.356" v="1134" actId="790"/>
          <ac:spMkLst>
            <pc:docMk/>
            <pc:sldMk cId="3468189571" sldId="28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6:10.460" v="3170" actId="27636"/>
          <ac:spMkLst>
            <pc:docMk/>
            <pc:sldMk cId="3468189571" sldId="289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2" v="1136" actId="790"/>
          <ac:spMkLst>
            <pc:docMk/>
            <pc:sldMk cId="3468189571" sldId="28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4" v="1137" actId="790"/>
          <ac:spMkLst>
            <pc:docMk/>
            <pc:sldMk cId="3468189571" sldId="289"/>
            <ac:spMk id="5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15:29.515" v="2531" actId="6549"/>
        <pc:sldMkLst>
          <pc:docMk/>
          <pc:sldMk cId="2722891500" sldId="290"/>
        </pc:sldMkLst>
        <pc:spChg chg="mod">
          <ac:chgData name="Thomas Stensitzki" userId="75cafe6b-2f2a-469b-85c4-eec3b9c972ba" providerId="ADAL" clId="{06E14ABF-FC4C-4B98-B2A4-DF762ED946F2}" dt="2019-04-02T17:26:05.381" v="1140" actId="790"/>
          <ac:spMkLst>
            <pc:docMk/>
            <pc:sldMk cId="2722891500" sldId="29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83" v="1141" actId="790"/>
          <ac:spMkLst>
            <pc:docMk/>
            <pc:sldMk cId="2722891500" sldId="290"/>
            <ac:spMk id="4" creationId="{00000000-0000-0000-0000-000000000000}"/>
          </ac:spMkLst>
        </pc:spChg>
        <pc:graphicFrameChg chg="modGraphic">
          <ac:chgData name="Thomas Stensitzki" userId="75cafe6b-2f2a-469b-85c4-eec3b9c972ba" providerId="ADAL" clId="{06E14ABF-FC4C-4B98-B2A4-DF762ED946F2}" dt="2019-04-02T18:15:29.515" v="2531" actId="6549"/>
          <ac:graphicFrameMkLst>
            <pc:docMk/>
            <pc:sldMk cId="2722891500" sldId="290"/>
            <ac:graphicFrameMk id="5" creationId="{72FCE2C9-019F-44A9-BCB7-5D6006A18818}"/>
          </ac:graphicFrameMkLst>
        </pc:graphicFrameChg>
      </pc:sldChg>
      <pc:sldChg chg="modSp modNotes">
        <pc:chgData name="Thomas Stensitzki" userId="75cafe6b-2f2a-469b-85c4-eec3b9c972ba" providerId="ADAL" clId="{06E14ABF-FC4C-4B98-B2A4-DF762ED946F2}" dt="2019-04-02T20:02:11.635" v="3632" actId="6549"/>
        <pc:sldMkLst>
          <pc:docMk/>
          <pc:sldMk cId="615471493" sldId="291"/>
        </pc:sldMkLst>
        <pc:spChg chg="mod">
          <ac:chgData name="Thomas Stensitzki" userId="75cafe6b-2f2a-469b-85c4-eec3b9c972ba" providerId="ADAL" clId="{06E14ABF-FC4C-4B98-B2A4-DF762ED946F2}" dt="2019-04-02T17:26:05.419" v="1156" actId="790"/>
          <ac:spMkLst>
            <pc:docMk/>
            <pc:sldMk cId="615471493" sldId="29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2:11.635" v="3632" actId="6549"/>
          <ac:spMkLst>
            <pc:docMk/>
            <pc:sldMk cId="615471493" sldId="291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41" v="1158" actId="790"/>
          <ac:spMkLst>
            <pc:docMk/>
            <pc:sldMk cId="615471493" sldId="291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16:34.950" v="2607" actId="113"/>
          <ac:spMkLst>
            <pc:docMk/>
            <pc:sldMk cId="615471493" sldId="291"/>
            <ac:spMk id="5" creationId="{61A8CEEB-04A7-4E2C-A326-8BDA78997065}"/>
          </ac:spMkLst>
        </pc:spChg>
        <pc:spChg chg="mod">
          <ac:chgData name="Thomas Stensitzki" userId="75cafe6b-2f2a-469b-85c4-eec3b9c972ba" providerId="ADAL" clId="{06E14ABF-FC4C-4B98-B2A4-DF762ED946F2}" dt="2019-04-02T17:26:05.450" v="1160" actId="790"/>
          <ac:spMkLst>
            <pc:docMk/>
            <pc:sldMk cId="615471493" sldId="291"/>
            <ac:spMk id="6" creationId="{955176E7-45C7-44B9-BE12-95D572909CF1}"/>
          </ac:spMkLst>
        </pc:spChg>
        <pc:spChg chg="mod">
          <ac:chgData name="Thomas Stensitzki" userId="75cafe6b-2f2a-469b-85c4-eec3b9c972ba" providerId="ADAL" clId="{06E14ABF-FC4C-4B98-B2A4-DF762ED946F2}" dt="2019-04-02T17:26:05.452" v="1161" actId="790"/>
          <ac:spMkLst>
            <pc:docMk/>
            <pc:sldMk cId="615471493" sldId="291"/>
            <ac:spMk id="7" creationId="{F9626815-9916-4493-A1C9-48E602A927EE}"/>
          </ac:spMkLst>
        </pc:spChg>
        <pc:spChg chg="mod">
          <ac:chgData name="Thomas Stensitzki" userId="75cafe6b-2f2a-469b-85c4-eec3b9c972ba" providerId="ADAL" clId="{06E14ABF-FC4C-4B98-B2A4-DF762ED946F2}" dt="2019-04-02T18:16:40.079" v="2609" actId="113"/>
          <ac:spMkLst>
            <pc:docMk/>
            <pc:sldMk cId="615471493" sldId="291"/>
            <ac:spMk id="8" creationId="{95331F01-7489-49EF-9556-7D2C61FFCC94}"/>
          </ac:spMkLst>
        </pc:spChg>
        <pc:spChg chg="mod">
          <ac:chgData name="Thomas Stensitzki" userId="75cafe6b-2f2a-469b-85c4-eec3b9c972ba" providerId="ADAL" clId="{06E14ABF-FC4C-4B98-B2A4-DF762ED946F2}" dt="2019-04-02T18:16:43.669" v="2611" actId="113"/>
          <ac:spMkLst>
            <pc:docMk/>
            <pc:sldMk cId="615471493" sldId="291"/>
            <ac:spMk id="9" creationId="{5A8AA5CD-82D8-484C-8FDB-1C1500A3F10D}"/>
          </ac:spMkLst>
        </pc:spChg>
        <pc:spChg chg="mod">
          <ac:chgData name="Thomas Stensitzki" userId="75cafe6b-2f2a-469b-85c4-eec3b9c972ba" providerId="ADAL" clId="{06E14ABF-FC4C-4B98-B2A4-DF762ED946F2}" dt="2019-04-02T17:26:05.464" v="1164"/>
          <ac:spMkLst>
            <pc:docMk/>
            <pc:sldMk cId="615471493" sldId="291"/>
            <ac:spMk id="10" creationId="{F670CA35-04ED-47D7-A76D-881E5E867656}"/>
          </ac:spMkLst>
        </pc:spChg>
        <pc:spChg chg="mod">
          <ac:chgData name="Thomas Stensitzki" userId="75cafe6b-2f2a-469b-85c4-eec3b9c972ba" providerId="ADAL" clId="{06E14ABF-FC4C-4B98-B2A4-DF762ED946F2}" dt="2019-04-02T17:26:05.465" v="1165"/>
          <ac:spMkLst>
            <pc:docMk/>
            <pc:sldMk cId="615471493" sldId="291"/>
            <ac:spMk id="11" creationId="{2032AB6F-B021-4BF0-897E-5B3BB7C14704}"/>
          </ac:spMkLst>
        </pc:spChg>
        <pc:spChg chg="mod">
          <ac:chgData name="Thomas Stensitzki" userId="75cafe6b-2f2a-469b-85c4-eec3b9c972ba" providerId="ADAL" clId="{06E14ABF-FC4C-4B98-B2A4-DF762ED946F2}" dt="2019-04-02T17:26:05.466" v="1166"/>
          <ac:spMkLst>
            <pc:docMk/>
            <pc:sldMk cId="615471493" sldId="291"/>
            <ac:spMk id="12" creationId="{707F3A51-6463-4953-981B-FAB4AAB83A70}"/>
          </ac:spMkLst>
        </pc:spChg>
        <pc:spChg chg="mod">
          <ac:chgData name="Thomas Stensitzki" userId="75cafe6b-2f2a-469b-85c4-eec3b9c972ba" providerId="ADAL" clId="{06E14ABF-FC4C-4B98-B2A4-DF762ED946F2}" dt="2019-04-02T17:26:05.468" v="1167"/>
          <ac:spMkLst>
            <pc:docMk/>
            <pc:sldMk cId="615471493" sldId="291"/>
            <ac:spMk id="15" creationId="{1866AE48-5404-46BA-8F14-02C73A639014}"/>
          </ac:spMkLst>
        </pc:spChg>
        <pc:spChg chg="mod">
          <ac:chgData name="Thomas Stensitzki" userId="75cafe6b-2f2a-469b-85c4-eec3b9c972ba" providerId="ADAL" clId="{06E14ABF-FC4C-4B98-B2A4-DF762ED946F2}" dt="2019-04-02T17:26:05.469" v="1168"/>
          <ac:spMkLst>
            <pc:docMk/>
            <pc:sldMk cId="615471493" sldId="291"/>
            <ac:spMk id="16" creationId="{D1DF71F6-7E68-4636-BB2F-DCF2B36F77B3}"/>
          </ac:spMkLst>
        </pc:spChg>
        <pc:spChg chg="mod">
          <ac:chgData name="Thomas Stensitzki" userId="75cafe6b-2f2a-469b-85c4-eec3b9c972ba" providerId="ADAL" clId="{06E14ABF-FC4C-4B98-B2A4-DF762ED946F2}" dt="2019-04-02T17:26:05.471" v="1169"/>
          <ac:spMkLst>
            <pc:docMk/>
            <pc:sldMk cId="615471493" sldId="291"/>
            <ac:spMk id="17" creationId="{F685687A-8D22-4B25-ABE6-DCF2582F9116}"/>
          </ac:spMkLst>
        </pc:spChg>
        <pc:spChg chg="mod">
          <ac:chgData name="Thomas Stensitzki" userId="75cafe6b-2f2a-469b-85c4-eec3b9c972ba" providerId="ADAL" clId="{06E14ABF-FC4C-4B98-B2A4-DF762ED946F2}" dt="2019-04-02T17:26:05.472" v="1170"/>
          <ac:spMkLst>
            <pc:docMk/>
            <pc:sldMk cId="615471493" sldId="291"/>
            <ac:spMk id="20" creationId="{A6A4E310-2129-4C0D-86C1-E458ACE88862}"/>
          </ac:spMkLst>
        </pc:spChg>
        <pc:spChg chg="mod">
          <ac:chgData name="Thomas Stensitzki" userId="75cafe6b-2f2a-469b-85c4-eec3b9c972ba" providerId="ADAL" clId="{06E14ABF-FC4C-4B98-B2A4-DF762ED946F2}" dt="2019-04-02T17:26:05.474" v="1171"/>
          <ac:spMkLst>
            <pc:docMk/>
            <pc:sldMk cId="615471493" sldId="291"/>
            <ac:spMk id="21" creationId="{586FDDAC-82BE-4AD5-8EAA-8D69657E4D6E}"/>
          </ac:spMkLst>
        </pc:spChg>
      </pc:sldChg>
      <pc:sldChg chg="modSp modNotes">
        <pc:chgData name="Thomas Stensitzki" userId="75cafe6b-2f2a-469b-85c4-eec3b9c972ba" providerId="ADAL" clId="{06E14ABF-FC4C-4B98-B2A4-DF762ED946F2}" dt="2019-04-02T20:09:17.046" v="4184" actId="207"/>
        <pc:sldMkLst>
          <pc:docMk/>
          <pc:sldMk cId="197286884" sldId="292"/>
        </pc:sldMkLst>
        <pc:spChg chg="mod">
          <ac:chgData name="Thomas Stensitzki" userId="75cafe6b-2f2a-469b-85c4-eec3b9c972ba" providerId="ADAL" clId="{06E14ABF-FC4C-4B98-B2A4-DF762ED946F2}" dt="2019-04-02T17:26:05.481" v="1174" actId="790"/>
          <ac:spMkLst>
            <pc:docMk/>
            <pc:sldMk cId="197286884" sldId="29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9:17.046" v="4184" actId="207"/>
          <ac:spMkLst>
            <pc:docMk/>
            <pc:sldMk cId="197286884" sldId="292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98" v="1176" actId="790"/>
          <ac:spMkLst>
            <pc:docMk/>
            <pc:sldMk cId="197286884" sldId="292"/>
            <ac:spMk id="4" creationId="{00000000-0000-0000-0000-000000000000}"/>
          </ac:spMkLst>
        </pc:spChg>
      </pc:sldChg>
      <pc:sldChg chg="modSp modNotes modNotesTx">
        <pc:chgData name="Thomas Stensitzki" userId="75cafe6b-2f2a-469b-85c4-eec3b9c972ba" providerId="ADAL" clId="{06E14ABF-FC4C-4B98-B2A4-DF762ED946F2}" dt="2019-04-02T20:16:52.018" v="4736" actId="6549"/>
        <pc:sldMkLst>
          <pc:docMk/>
          <pc:sldMk cId="983307875" sldId="293"/>
        </pc:sldMkLst>
        <pc:spChg chg="mod">
          <ac:chgData name="Thomas Stensitzki" userId="75cafe6b-2f2a-469b-85c4-eec3b9c972ba" providerId="ADAL" clId="{06E14ABF-FC4C-4B98-B2A4-DF762ED946F2}" dt="2019-04-02T17:26:05.504" v="1179" actId="790"/>
          <ac:spMkLst>
            <pc:docMk/>
            <pc:sldMk cId="983307875" sldId="29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16:52.018" v="4736" actId="6549"/>
          <ac:spMkLst>
            <pc:docMk/>
            <pc:sldMk cId="983307875" sldId="29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21" v="1181" actId="790"/>
          <ac:spMkLst>
            <pc:docMk/>
            <pc:sldMk cId="983307875" sldId="293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539" v="1188" actId="790"/>
        <pc:sldMkLst>
          <pc:docMk/>
          <pc:sldMk cId="2554480883" sldId="294"/>
        </pc:sldMkLst>
        <pc:spChg chg="mod">
          <ac:chgData name="Thomas Stensitzki" userId="75cafe6b-2f2a-469b-85c4-eec3b9c972ba" providerId="ADAL" clId="{06E14ABF-FC4C-4B98-B2A4-DF762ED946F2}" dt="2019-04-02T17:26:05.529" v="1184" actId="790"/>
          <ac:spMkLst>
            <pc:docMk/>
            <pc:sldMk cId="2554480883" sldId="29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2" v="1185" actId="790"/>
          <ac:spMkLst>
            <pc:docMk/>
            <pc:sldMk cId="2554480883" sldId="294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4" v="1186" actId="790"/>
          <ac:spMkLst>
            <pc:docMk/>
            <pc:sldMk cId="2554480883" sldId="294"/>
            <ac:spMk id="4" creationId="{00000000-0000-0000-0000-000000000000}"/>
          </ac:spMkLst>
        </pc:spChg>
      </pc:sldChg>
      <pc:sldChg chg="addSp delSp modSp add modNotes">
        <pc:chgData name="Thomas Stensitzki" userId="75cafe6b-2f2a-469b-85c4-eec3b9c972ba" providerId="ADAL" clId="{06E14ABF-FC4C-4B98-B2A4-DF762ED946F2}" dt="2019-04-03T17:24:54.400" v="6024" actId="6549"/>
        <pc:sldMkLst>
          <pc:docMk/>
          <pc:sldMk cId="3381329992" sldId="295"/>
        </pc:sldMkLst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2" creationId="{AB5198ED-F51C-4B28-B98E-E18AD827BCB8}"/>
          </ac:spMkLst>
        </pc:spChg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3" creationId="{5014A673-88EF-4B84-B786-0F60EC4EE257}"/>
          </ac:spMkLst>
        </pc:spChg>
        <pc:spChg chg="add mod">
          <ac:chgData name="Thomas Stensitzki" userId="75cafe6b-2f2a-469b-85c4-eec3b9c972ba" providerId="ADAL" clId="{06E14ABF-FC4C-4B98-B2A4-DF762ED946F2}" dt="2019-04-02T17:26:05.551" v="1193" actId="790"/>
          <ac:spMkLst>
            <pc:docMk/>
            <pc:sldMk cId="3381329992" sldId="295"/>
            <ac:spMk id="4" creationId="{F4E8168C-86D8-4764-974B-139AA233729C}"/>
          </ac:spMkLst>
        </pc:spChg>
        <pc:spChg chg="add mod">
          <ac:chgData name="Thomas Stensitzki" userId="75cafe6b-2f2a-469b-85c4-eec3b9c972ba" providerId="ADAL" clId="{06E14ABF-FC4C-4B98-B2A4-DF762ED946F2}" dt="2019-04-03T17:24:54.400" v="6024" actId="6549"/>
          <ac:spMkLst>
            <pc:docMk/>
            <pc:sldMk cId="3381329992" sldId="295"/>
            <ac:spMk id="5" creationId="{61BEA58E-DFFC-4110-AFCE-5D2631A90CDA}"/>
          </ac:spMkLst>
        </pc:spChg>
        <pc:spChg chg="add mod">
          <ac:chgData name="Thomas Stensitzki" userId="75cafe6b-2f2a-469b-85c4-eec3b9c972ba" providerId="ADAL" clId="{06E14ABF-FC4C-4B98-B2A4-DF762ED946F2}" dt="2019-04-02T17:26:05.567" v="1195" actId="790"/>
          <ac:spMkLst>
            <pc:docMk/>
            <pc:sldMk cId="3381329992" sldId="295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3:42.013" v="5245" actId="6549"/>
        <pc:sldMkLst>
          <pc:docMk/>
          <pc:sldMk cId="759766632" sldId="296"/>
        </pc:sldMkLst>
        <pc:spChg chg="mod">
          <ac:chgData name="Thomas Stensitzki" userId="75cafe6b-2f2a-469b-85c4-eec3b9c972ba" providerId="ADAL" clId="{06E14ABF-FC4C-4B98-B2A4-DF762ED946F2}" dt="2019-04-02T17:26:05.575" v="1198" actId="790"/>
          <ac:spMkLst>
            <pc:docMk/>
            <pc:sldMk cId="759766632" sldId="296"/>
            <ac:spMk id="4" creationId="{F4E8168C-86D8-4764-974B-139AA233729C}"/>
          </ac:spMkLst>
        </pc:spChg>
        <pc:spChg chg="mod">
          <ac:chgData name="Thomas Stensitzki" userId="75cafe6b-2f2a-469b-85c4-eec3b9c972ba" providerId="ADAL" clId="{06E14ABF-FC4C-4B98-B2A4-DF762ED946F2}" dt="2019-04-02T20:23:42.013" v="5245" actId="6549"/>
          <ac:spMkLst>
            <pc:docMk/>
            <pc:sldMk cId="759766632" sldId="296"/>
            <ac:spMk id="5" creationId="{61BEA58E-DFFC-4110-AFCE-5D2631A90CDA}"/>
          </ac:spMkLst>
        </pc:spChg>
        <pc:spChg chg="mod">
          <ac:chgData name="Thomas Stensitzki" userId="75cafe6b-2f2a-469b-85c4-eec3b9c972ba" providerId="ADAL" clId="{06E14ABF-FC4C-4B98-B2A4-DF762ED946F2}" dt="2019-04-02T17:26:05.587" v="1200" actId="790"/>
          <ac:spMkLst>
            <pc:docMk/>
            <pc:sldMk cId="759766632" sldId="296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7:35.571" v="5402" actId="114"/>
        <pc:sldMkLst>
          <pc:docMk/>
          <pc:sldMk cId="1044294694" sldId="297"/>
        </pc:sldMkLst>
        <pc:spChg chg="mod">
          <ac:chgData name="Thomas Stensitzki" userId="75cafe6b-2f2a-469b-85c4-eec3b9c972ba" providerId="ADAL" clId="{06E14ABF-FC4C-4B98-B2A4-DF762ED946F2}" dt="2019-04-02T17:26:05.594" v="1203" actId="790"/>
          <ac:spMkLst>
            <pc:docMk/>
            <pc:sldMk cId="1044294694" sldId="297"/>
            <ac:spMk id="2" creationId="{67557B84-7964-4E8C-99E8-869B5367454A}"/>
          </ac:spMkLst>
        </pc:spChg>
        <pc:spChg chg="mod">
          <ac:chgData name="Thomas Stensitzki" userId="75cafe6b-2f2a-469b-85c4-eec3b9c972ba" providerId="ADAL" clId="{06E14ABF-FC4C-4B98-B2A4-DF762ED946F2}" dt="2019-04-02T20:27:35.571" v="5402" actId="114"/>
          <ac:spMkLst>
            <pc:docMk/>
            <pc:sldMk cId="1044294694" sldId="297"/>
            <ac:spMk id="3" creationId="{82E5BAEE-3E2D-4A96-9FB8-4368335D0814}"/>
          </ac:spMkLst>
        </pc:spChg>
        <pc:spChg chg="mod">
          <ac:chgData name="Thomas Stensitzki" userId="75cafe6b-2f2a-469b-85c4-eec3b9c972ba" providerId="ADAL" clId="{06E14ABF-FC4C-4B98-B2A4-DF762ED946F2}" dt="2019-04-02T17:26:05.602" v="1205" actId="790"/>
          <ac:spMkLst>
            <pc:docMk/>
            <pc:sldMk cId="1044294694" sldId="297"/>
            <ac:spMk id="4" creationId="{CB5F7625-39B3-42C6-A622-9F45CF6A4AEC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32:26.674" v="6014" actId="6549"/>
        <pc:sldMkLst>
          <pc:docMk/>
          <pc:sldMk cId="4146826759" sldId="298"/>
        </pc:sldMkLst>
        <pc:spChg chg="mod">
          <ac:chgData name="Thomas Stensitzki" userId="75cafe6b-2f2a-469b-85c4-eec3b9c972ba" providerId="ADAL" clId="{06E14ABF-FC4C-4B98-B2A4-DF762ED946F2}" dt="2019-04-02T17:26:05.610" v="1208" actId="790"/>
          <ac:spMkLst>
            <pc:docMk/>
            <pc:sldMk cId="4146826759" sldId="298"/>
            <ac:spMk id="2" creationId="{0B44876A-D8F8-4F3E-BB4D-D6A45D3598CE}"/>
          </ac:spMkLst>
        </pc:spChg>
        <pc:spChg chg="mod">
          <ac:chgData name="Thomas Stensitzki" userId="75cafe6b-2f2a-469b-85c4-eec3b9c972ba" providerId="ADAL" clId="{06E14ABF-FC4C-4B98-B2A4-DF762ED946F2}" dt="2019-04-02T20:32:26.674" v="6014" actId="6549"/>
          <ac:spMkLst>
            <pc:docMk/>
            <pc:sldMk cId="4146826759" sldId="298"/>
            <ac:spMk id="3" creationId="{B8580189-4D05-4205-B50C-7CECD16F0152}"/>
          </ac:spMkLst>
        </pc:spChg>
        <pc:spChg chg="mod">
          <ac:chgData name="Thomas Stensitzki" userId="75cafe6b-2f2a-469b-85c4-eec3b9c972ba" providerId="ADAL" clId="{06E14ABF-FC4C-4B98-B2A4-DF762ED946F2}" dt="2019-04-02T17:26:05.627" v="1210" actId="790"/>
          <ac:spMkLst>
            <pc:docMk/>
            <pc:sldMk cId="4146826759" sldId="298"/>
            <ac:spMk id="4" creationId="{50A5B977-E1C4-40BB-A647-64DB6D6089C7}"/>
          </ac:spMkLst>
        </pc:spChg>
      </pc:sldChg>
      <pc:sldChg chg="modSp add">
        <pc:chgData name="Thomas Stensitzki" userId="75cafe6b-2f2a-469b-85c4-eec3b9c972ba" providerId="ADAL" clId="{06E14ABF-FC4C-4B98-B2A4-DF762ED946F2}" dt="2019-04-02T17:28:17.209" v="1246"/>
        <pc:sldMkLst>
          <pc:docMk/>
          <pc:sldMk cId="887372333" sldId="299"/>
        </pc:sldMkLst>
        <pc:spChg chg="mod">
          <ac:chgData name="Thomas Stensitzki" userId="75cafe6b-2f2a-469b-85c4-eec3b9c972ba" providerId="ADAL" clId="{06E14ABF-FC4C-4B98-B2A4-DF762ED946F2}" dt="2019-04-02T17:28:08.224" v="1245" actId="20577"/>
          <ac:spMkLst>
            <pc:docMk/>
            <pc:sldMk cId="887372333" sldId="299"/>
            <ac:spMk id="2" creationId="{E97F6622-98C7-4F70-8DFC-DC9218D763B8}"/>
          </ac:spMkLst>
        </pc:spChg>
        <pc:spChg chg="mod">
          <ac:chgData name="Thomas Stensitzki" userId="75cafe6b-2f2a-469b-85c4-eec3b9c972ba" providerId="ADAL" clId="{06E14ABF-FC4C-4B98-B2A4-DF762ED946F2}" dt="2019-04-02T17:28:17.209" v="1246"/>
          <ac:spMkLst>
            <pc:docMk/>
            <pc:sldMk cId="887372333" sldId="299"/>
            <ac:spMk id="3" creationId="{9FD72DDF-88A9-4311-B841-AAB5B5F54ECA}"/>
          </ac:spMkLst>
        </pc:spChg>
      </pc:sldChg>
      <pc:sldChg chg="addSp delSp modSp add modAnim">
        <pc:chgData name="Thomas Stensitzki" userId="75cafe6b-2f2a-469b-85c4-eec3b9c972ba" providerId="ADAL" clId="{06E14ABF-FC4C-4B98-B2A4-DF762ED946F2}" dt="2019-04-02T17:31:18.306" v="1326" actId="207"/>
        <pc:sldMkLst>
          <pc:docMk/>
          <pc:sldMk cId="2170765889" sldId="300"/>
        </pc:sldMkLst>
        <pc:spChg chg="mod">
          <ac:chgData name="Thomas Stensitzki" userId="75cafe6b-2f2a-469b-85c4-eec3b9c972ba" providerId="ADAL" clId="{06E14ABF-FC4C-4B98-B2A4-DF762ED946F2}" dt="2019-04-02T17:30:39.017" v="1290" actId="20577"/>
          <ac:spMkLst>
            <pc:docMk/>
            <pc:sldMk cId="2170765889" sldId="300"/>
            <ac:spMk id="2" creationId="{FCD1E8AB-75DE-4796-A772-404B2AF1A0BC}"/>
          </ac:spMkLst>
        </pc:spChg>
        <pc:spChg chg="del">
          <ac:chgData name="Thomas Stensitzki" userId="75cafe6b-2f2a-469b-85c4-eec3b9c972ba" providerId="ADAL" clId="{06E14ABF-FC4C-4B98-B2A4-DF762ED946F2}" dt="2019-04-02T17:30:55.707" v="1324" actId="478"/>
          <ac:spMkLst>
            <pc:docMk/>
            <pc:sldMk cId="2170765889" sldId="300"/>
            <ac:spMk id="3" creationId="{FCFCA490-F41D-4D1E-90C1-BD8731EC30AE}"/>
          </ac:spMkLst>
        </pc:spChg>
        <pc:spChg chg="mod">
          <ac:chgData name="Thomas Stensitzki" userId="75cafe6b-2f2a-469b-85c4-eec3b9c972ba" providerId="ADAL" clId="{06E14ABF-FC4C-4B98-B2A4-DF762ED946F2}" dt="2019-04-02T17:30:51.802" v="1323" actId="20577"/>
          <ac:spMkLst>
            <pc:docMk/>
            <pc:sldMk cId="2170765889" sldId="300"/>
            <ac:spMk id="4" creationId="{3F298FCD-C00F-4DC6-BAE9-5E2A229F1D0C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6" creationId="{F9F5E7E9-8474-4A1E-AE05-65D2CD7E7A69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7" creationId="{008B1113-1C85-4F5F-9737-1A5CDE5EB6AD}"/>
          </ac:spMkLst>
        </pc:spChg>
        <pc:spChg chg="add">
          <ac:chgData name="Thomas Stensitzki" userId="75cafe6b-2f2a-469b-85c4-eec3b9c972ba" providerId="ADAL" clId="{06E14ABF-FC4C-4B98-B2A4-DF762ED946F2}" dt="2019-04-02T17:31:05.683" v="1325"/>
          <ac:spMkLst>
            <pc:docMk/>
            <pc:sldMk cId="2170765889" sldId="300"/>
            <ac:spMk id="10" creationId="{CF95394A-2061-4326-B6F3-389D871D6F85}"/>
          </ac:spMkLst>
        </pc:sp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5" creationId="{BAB7E718-BF62-4DE0-9296-C469A9AC8207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8" creationId="{6191F2A9-33C0-4AC8-B9AB-69B4A58C129A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9" creationId="{25639242-9687-4295-BE5F-F7F9AC5CC830}"/>
          </ac:picMkLst>
        </pc:picChg>
      </pc:sldChg>
      <pc:sldChg chg="modSp add">
        <pc:chgData name="Thomas Stensitzki" userId="75cafe6b-2f2a-469b-85c4-eec3b9c972ba" providerId="ADAL" clId="{06E14ABF-FC4C-4B98-B2A4-DF762ED946F2}" dt="2019-04-02T17:34:10.267" v="1346" actId="20577"/>
        <pc:sldMkLst>
          <pc:docMk/>
          <pc:sldMk cId="2659899239" sldId="301"/>
        </pc:sldMkLst>
        <pc:spChg chg="mod">
          <ac:chgData name="Thomas Stensitzki" userId="75cafe6b-2f2a-469b-85c4-eec3b9c972ba" providerId="ADAL" clId="{06E14ABF-FC4C-4B98-B2A4-DF762ED946F2}" dt="2019-04-02T17:33:54.552" v="1342" actId="20577"/>
          <ac:spMkLst>
            <pc:docMk/>
            <pc:sldMk cId="2659899239" sldId="301"/>
            <ac:spMk id="2" creationId="{6E7C46E8-08BA-473F-927D-A8D89EF2786C}"/>
          </ac:spMkLst>
        </pc:spChg>
        <pc:spChg chg="mod">
          <ac:chgData name="Thomas Stensitzki" userId="75cafe6b-2f2a-469b-85c4-eec3b9c972ba" providerId="ADAL" clId="{06E14ABF-FC4C-4B98-B2A4-DF762ED946F2}" dt="2019-04-02T17:34:10.267" v="1346" actId="20577"/>
          <ac:spMkLst>
            <pc:docMk/>
            <pc:sldMk cId="2659899239" sldId="301"/>
            <ac:spMk id="3" creationId="{607F14A2-830C-404D-AA4E-EA014C520758}"/>
          </ac:spMkLst>
        </pc:spChg>
      </pc:sldChg>
    </pc:docChg>
  </pc:docChgLst>
  <pc:docChgLst>
    <pc:chgData name="Thomas Stensitzki" userId="75cafe6b-2f2a-469b-85c4-eec3b9c972ba" providerId="ADAL" clId="{C1070512-73C6-4B84-8C73-531CBC16FA46}"/>
  </pc:docChgLst>
  <pc:docChgLst>
    <pc:chgData name="Thomas Stensitzki" userId="75cafe6b-2f2a-469b-85c4-eec3b9c972ba" providerId="ADAL" clId="{687C2785-0954-4AD9-89C6-947A3940FF7B}"/>
    <pc:docChg chg="undo custSel addSld modSld sldOrd">
      <pc:chgData name="Thomas Stensitzki" userId="75cafe6b-2f2a-469b-85c4-eec3b9c972ba" providerId="ADAL" clId="{687C2785-0954-4AD9-89C6-947A3940FF7B}" dt="2019-11-14T10:25:11.812" v="810"/>
      <pc:docMkLst>
        <pc:docMk/>
      </pc:docMkLst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53304963" sldId="256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86585176" sldId="258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577492687" sldId="25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8132323" sldId="274"/>
        </pc:sldMkLst>
      </pc:sldChg>
      <pc:sldChg chg="addSp 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855165129" sldId="277"/>
        </pc:sldMkLst>
        <pc:spChg chg="add del">
          <ac:chgData name="Thomas Stensitzki" userId="75cafe6b-2f2a-469b-85c4-eec3b9c972ba" providerId="ADAL" clId="{687C2785-0954-4AD9-89C6-947A3940FF7B}" dt="2019-11-13T08:57:20.556" v="409"/>
          <ac:spMkLst>
            <pc:docMk/>
            <pc:sldMk cId="2855165129" sldId="277"/>
            <ac:spMk id="5" creationId="{6B34399F-725A-4E89-BEB5-8993983DEDC9}"/>
          </ac:spMkLst>
        </pc:spChg>
        <pc:grpChg chg="add">
          <ac:chgData name="Thomas Stensitzki" userId="75cafe6b-2f2a-469b-85c4-eec3b9c972ba" providerId="ADAL" clId="{687C2785-0954-4AD9-89C6-947A3940FF7B}" dt="2019-11-14T10:12:41.859" v="802"/>
          <ac:grpSpMkLst>
            <pc:docMk/>
            <pc:sldMk cId="2855165129" sldId="277"/>
            <ac:grpSpMk id="9" creationId="{724C2ABE-F85C-439F-8D9E-9AFFED56578F}"/>
          </ac:grpSpMkLst>
        </pc:grpChg>
        <pc:picChg chg="mod">
          <ac:chgData name="Thomas Stensitzki" userId="75cafe6b-2f2a-469b-85c4-eec3b9c972ba" providerId="ADAL" clId="{687C2785-0954-4AD9-89C6-947A3940FF7B}" dt="2019-11-14T10:13:06.161" v="803" actId="1076"/>
          <ac:picMkLst>
            <pc:docMk/>
            <pc:sldMk cId="2855165129" sldId="277"/>
            <ac:picMk id="8" creationId="{A80C8C24-3ADA-4322-B0F2-50CCA426992B}"/>
          </ac:picMkLst>
        </pc:picChg>
      </pc:sldChg>
      <pc:sldChg chg="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116996515" sldId="278"/>
        </pc:sldMkLst>
        <pc:spChg chg="mod">
          <ac:chgData name="Thomas Stensitzki" userId="75cafe6b-2f2a-469b-85c4-eec3b9c972ba" providerId="ADAL" clId="{687C2785-0954-4AD9-89C6-947A3940FF7B}" dt="2019-11-13T09:04:52.305" v="515" actId="20577"/>
          <ac:spMkLst>
            <pc:docMk/>
            <pc:sldMk cId="2116996515" sldId="278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20.785" v="313"/>
          <ac:spMkLst>
            <pc:docMk/>
            <pc:sldMk cId="2116996515" sldId="278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49:22.775" v="1" actId="478"/>
          <ac:grpSpMkLst>
            <pc:docMk/>
            <pc:sldMk cId="2116996515" sldId="278"/>
            <ac:grpSpMk id="8" creationId="{3792915B-1576-4720-BD73-706A9916B599}"/>
          </ac:grpSpMkLst>
        </pc:grpChg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16536378" sldId="27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34142031" sldId="280"/>
        </pc:sldMkLst>
      </pc:sldChg>
      <pc:sldChg chg="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270119054" sldId="281"/>
        </pc:sldMkLst>
        <pc:spChg chg="mod">
          <ac:chgData name="Thomas Stensitzki" userId="75cafe6b-2f2a-469b-85c4-eec3b9c972ba" providerId="ADAL" clId="{687C2785-0954-4AD9-89C6-947A3940FF7B}" dt="2019-11-13T08:53:05.762" v="199" actId="20577"/>
          <ac:spMkLst>
            <pc:docMk/>
            <pc:sldMk cId="3270119054" sldId="281"/>
            <ac:spMk id="3" creationId="{846837F5-A0F6-4309-9948-A01CACBBEB0B}"/>
          </ac:spMkLst>
        </pc:spChg>
      </pc:sldChg>
      <pc:sldChg chg="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392728178" sldId="282"/>
        </pc:sldMkLst>
      </pc:sldChg>
      <pc:sldChg chg="delSp 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415593282" sldId="283"/>
        </pc:sldMkLst>
        <pc:spChg chg="mod">
          <ac:chgData name="Thomas Stensitzki" userId="75cafe6b-2f2a-469b-85c4-eec3b9c972ba" providerId="ADAL" clId="{687C2785-0954-4AD9-89C6-947A3940FF7B}" dt="2019-11-13T09:05:25.439" v="542" actId="5793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3:47.334" v="233" actId="20577"/>
          <ac:spMkLst>
            <pc:docMk/>
            <pc:sldMk cId="1415593282" sldId="283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50:54.583" v="138" actId="478"/>
          <ac:grpSpMkLst>
            <pc:docMk/>
            <pc:sldMk cId="1415593282" sldId="283"/>
            <ac:grpSpMk id="8" creationId="{3792915B-1576-4720-BD73-706A9916B599}"/>
          </ac:grpSpMkLst>
        </pc:grpChg>
      </pc:sldChg>
      <pc:sldChg chg="delSp modSp add mod modTransition modAnim modShow">
        <pc:chgData name="Thomas Stensitzki" userId="75cafe6b-2f2a-469b-85c4-eec3b9c972ba" providerId="ADAL" clId="{687C2785-0954-4AD9-89C6-947A3940FF7B}" dt="2019-11-14T10:25:11.812" v="810"/>
        <pc:sldMkLst>
          <pc:docMk/>
          <pc:sldMk cId="1875455003" sldId="284"/>
        </pc:sldMkLst>
        <pc:spChg chg="mod">
          <ac:chgData name="Thomas Stensitzki" userId="75cafe6b-2f2a-469b-85c4-eec3b9c972ba" providerId="ADAL" clId="{687C2785-0954-4AD9-89C6-947A3940FF7B}" dt="2019-11-14T08:53:54.781" v="800" actId="6549"/>
          <ac:spMkLst>
            <pc:docMk/>
            <pc:sldMk cId="1875455003" sldId="284"/>
            <ac:spMk id="3" creationId="{39E4D204-8D17-4FFE-BDD3-1563F2E75315}"/>
          </ac:spMkLst>
        </pc:spChg>
        <pc:spChg chg="mod">
          <ac:chgData name="Thomas Stensitzki" userId="75cafe6b-2f2a-469b-85c4-eec3b9c972ba" providerId="ADAL" clId="{687C2785-0954-4AD9-89C6-947A3940FF7B}" dt="2019-11-14T08:53:33.198" v="788" actId="5793"/>
          <ac:spMkLst>
            <pc:docMk/>
            <pc:sldMk cId="1875455003" sldId="284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14.278" v="312" actId="1076"/>
          <ac:spMkLst>
            <pc:docMk/>
            <pc:sldMk cId="1875455003" sldId="284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4T10:12:30.327" v="801"/>
          <ac:grpSpMkLst>
            <pc:docMk/>
            <pc:sldMk cId="1875455003" sldId="284"/>
            <ac:grpSpMk id="8" creationId="{3792915B-1576-4720-BD73-706A9916B599}"/>
          </ac:grpSpMkLst>
        </pc:grpChg>
      </pc:sldChg>
      <pc:sldChg chg="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014089621" sldId="285"/>
        </pc:sldMkLst>
        <pc:spChg chg="mod">
          <ac:chgData name="Thomas Stensitzki" userId="75cafe6b-2f2a-469b-85c4-eec3b9c972ba" providerId="ADAL" clId="{687C2785-0954-4AD9-89C6-947A3940FF7B}" dt="2019-11-14T08:52:54.505" v="711" actId="20577"/>
          <ac:spMkLst>
            <pc:docMk/>
            <pc:sldMk cId="3014089621" sldId="285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8:14.316" v="413"/>
          <ac:spMkLst>
            <pc:docMk/>
            <pc:sldMk cId="3014089621" sldId="285"/>
            <ac:spMk id="6" creationId="{2A0D12C0-FAC2-4E0B-8157-A3363555BFF4}"/>
          </ac:spMkLst>
        </pc:spChg>
      </pc:sldChg>
    </pc:docChg>
  </pc:docChgLst>
  <pc:docChgLst>
    <pc:chgData name="Thomas Stensitzki" userId="75cafe6b-2f2a-469b-85c4-eec3b9c972ba" providerId="ADAL" clId="{A3D4B8CC-F8BB-472A-AC95-FB3E3D3604C4}"/>
  </pc:docChgLst>
  <pc:docChgLst>
    <pc:chgData name="Thomas Stensitzki" userId="75cafe6b-2f2a-469b-85c4-eec3b9c972ba" providerId="ADAL" clId="{89122B98-9651-420B-B2E9-C6A699A1FEB3}"/>
  </pc:docChgLst>
  <pc:docChgLst>
    <pc:chgData name="Thomas Stensitzki" userId="75cafe6b-2f2a-469b-85c4-eec3b9c972ba" providerId="ADAL" clId="{D6558802-9FD8-4B9D-BD9A-1AC8EA99CA7F}"/>
    <pc:docChg chg="undo custSel addSld delSld modSld sldOrd addSection delSection modSection">
      <pc:chgData name="Thomas Stensitzki" userId="75cafe6b-2f2a-469b-85c4-eec3b9c972ba" providerId="ADAL" clId="{D6558802-9FD8-4B9D-BD9A-1AC8EA99CA7F}" dt="2019-10-27T10:37:51.155" v="1247" actId="6549"/>
      <pc:docMkLst>
        <pc:docMk/>
      </pc:docMkLst>
      <pc:sldChg chg="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53304963" sldId="256"/>
        </pc:sldMkLst>
      </pc:sldChg>
      <pc:sldChg chg="addSp modSp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986585176" sldId="258"/>
        </pc:sldMkLst>
        <pc:spChg chg="mod">
          <ac:chgData name="Thomas Stensitzki" userId="75cafe6b-2f2a-469b-85c4-eec3b9c972ba" providerId="ADAL" clId="{D6558802-9FD8-4B9D-BD9A-1AC8EA99CA7F}" dt="2019-10-19T08:01:10.113" v="6" actId="20577"/>
          <ac:spMkLst>
            <pc:docMk/>
            <pc:sldMk cId="3986585176" sldId="258"/>
            <ac:spMk id="3" creationId="{00000000-0000-0000-0000-000000000000}"/>
          </ac:spMkLst>
        </pc:spChg>
        <pc:picChg chg="add mod">
          <ac:chgData name="Thomas Stensitzki" userId="75cafe6b-2f2a-469b-85c4-eec3b9c972ba" providerId="ADAL" clId="{D6558802-9FD8-4B9D-BD9A-1AC8EA99CA7F}" dt="2019-10-19T08:01:45.815" v="24" actId="1036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add del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577492687" sldId="259"/>
        </pc:sldMkLst>
        <pc:spChg chg="mod">
          <ac:chgData name="Thomas Stensitzki" userId="75cafe6b-2f2a-469b-85c4-eec3b9c972ba" providerId="ADAL" clId="{D6558802-9FD8-4B9D-BD9A-1AC8EA99CA7F}" dt="2019-10-19T08:02:00.929" v="25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D6558802-9FD8-4B9D-BD9A-1AC8EA99CA7F}" dt="2019-10-27T10:00:28.215" v="150" actId="20577"/>
          <ac:spMkLst>
            <pc:docMk/>
            <pc:sldMk cId="577492687" sldId="259"/>
            <ac:spMk id="6" creationId="{9D5FCE5E-BE6E-4AAA-BFE2-CADDE02D473C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22716105" sldId="260"/>
        </pc:sldMkLst>
      </pc:sldChg>
      <pc:sldChg chg="delSp mod modTransition modShow">
        <pc:chgData name="Thomas Stensitzki" userId="75cafe6b-2f2a-469b-85c4-eec3b9c972ba" providerId="ADAL" clId="{D6558802-9FD8-4B9D-BD9A-1AC8EA99CA7F}" dt="2019-10-27T10:01:22.512" v="154"/>
        <pc:sldMkLst>
          <pc:docMk/>
          <pc:sldMk cId="28132323" sldId="274"/>
        </pc:sldMkLst>
        <pc:picChg chg="del">
          <ac:chgData name="Thomas Stensitzki" userId="75cafe6b-2f2a-469b-85c4-eec3b9c972ba" providerId="ADAL" clId="{D6558802-9FD8-4B9D-BD9A-1AC8EA99CA7F}" dt="2019-10-19T08:00:25.473" v="1" actId="478"/>
          <ac:picMkLst>
            <pc:docMk/>
            <pc:sldMk cId="28132323" sldId="274"/>
            <ac:picMk id="5" creationId="{126BC707-0610-47CC-A6BE-C945356FD3D8}"/>
          </ac:picMkLst>
        </pc:picChg>
      </pc:sldChg>
      <pc:sldChg chg="del">
        <pc:chgData name="Thomas Stensitzki" userId="75cafe6b-2f2a-469b-85c4-eec3b9c972ba" providerId="ADAL" clId="{D6558802-9FD8-4B9D-BD9A-1AC8EA99CA7F}" dt="2019-10-19T08:00:36.595" v="2" actId="2696"/>
        <pc:sldMkLst>
          <pc:docMk/>
          <pc:sldMk cId="1868214746" sldId="27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34596246" sldId="276"/>
        </pc:sldMkLst>
      </pc:sldChg>
      <pc:sldChg chg="modSp modTransition">
        <pc:chgData name="Thomas Stensitzki" userId="75cafe6b-2f2a-469b-85c4-eec3b9c972ba" providerId="ADAL" clId="{D6558802-9FD8-4B9D-BD9A-1AC8EA99CA7F}" dt="2019-10-27T10:14:52.775" v="425" actId="20577"/>
        <pc:sldMkLst>
          <pc:docMk/>
          <pc:sldMk cId="2855165129" sldId="277"/>
        </pc:sldMkLst>
        <pc:spChg chg="mod">
          <ac:chgData name="Thomas Stensitzki" userId="75cafe6b-2f2a-469b-85c4-eec3b9c972ba" providerId="ADAL" clId="{D6558802-9FD8-4B9D-BD9A-1AC8EA99CA7F}" dt="2019-10-27T10:14:52.775" v="425" actId="20577"/>
          <ac:spMkLst>
            <pc:docMk/>
            <pc:sldMk cId="2855165129" sldId="277"/>
            <ac:spMk id="2" creationId="{00000000-0000-0000-0000-000000000000}"/>
          </ac:spMkLst>
        </pc:spChg>
        <pc:picChg chg="mod">
          <ac:chgData name="Thomas Stensitzki" userId="75cafe6b-2f2a-469b-85c4-eec3b9c972ba" providerId="ADAL" clId="{D6558802-9FD8-4B9D-BD9A-1AC8EA99CA7F}" dt="2019-10-27T10:14:45.452" v="420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D6558802-9FD8-4B9D-BD9A-1AC8EA99CA7F}" dt="2019-10-19T08:02:39.495" v="52" actId="47"/>
        <pc:sldMkLst>
          <pc:docMk/>
          <pc:sldMk cId="1033304354" sldId="278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37:51.155" v="1247" actId="6549"/>
        <pc:sldMkLst>
          <pc:docMk/>
          <pc:sldMk cId="2116996515" sldId="278"/>
        </pc:sldMkLst>
        <pc:spChg chg="add del mod">
          <ac:chgData name="Thomas Stensitzki" userId="75cafe6b-2f2a-469b-85c4-eec3b9c972ba" providerId="ADAL" clId="{D6558802-9FD8-4B9D-BD9A-1AC8EA99CA7F}" dt="2019-10-27T10:34:07.161" v="1168" actId="767"/>
          <ac:spMkLst>
            <pc:docMk/>
            <pc:sldMk cId="2116996515" sldId="278"/>
            <ac:spMk id="2" creationId="{5B61F719-C611-46BD-935C-736C5BA5DFA7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2" creationId="{CC65CFB8-9BE8-4A46-ACF6-0AE38A730DB2}"/>
          </ac:spMkLst>
        </pc:spChg>
        <pc:spChg chg="add mod">
          <ac:chgData name="Thomas Stensitzki" userId="75cafe6b-2f2a-469b-85c4-eec3b9c972ba" providerId="ADAL" clId="{D6558802-9FD8-4B9D-BD9A-1AC8EA99CA7F}" dt="2019-10-27T10:37:51.155" v="1247" actId="6549"/>
          <ac:spMkLst>
            <pc:docMk/>
            <pc:sldMk cId="2116996515" sldId="278"/>
            <ac:spMk id="3" creationId="{39E4D204-8D17-4FFE-BDD3-1563F2E75315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3" creationId="{7CC669D8-2088-4EDE-AC66-D8F092719FA3}"/>
          </ac:spMkLst>
        </pc:spChg>
        <pc:spChg chg="add mod">
          <ac:chgData name="Thomas Stensitzki" userId="75cafe6b-2f2a-469b-85c4-eec3b9c972ba" providerId="ADAL" clId="{D6558802-9FD8-4B9D-BD9A-1AC8EA99CA7F}" dt="2019-10-19T08:02:55.543" v="55" actId="27636"/>
          <ac:spMkLst>
            <pc:docMk/>
            <pc:sldMk cId="2116996515" sldId="278"/>
            <ac:spMk id="4" creationId="{44D18106-10B8-4369-8831-215AC4DFCE51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5" creationId="{B27B1AC8-C754-4125-A6B6-50E1270A9279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6" creationId="{2A0D12C0-FAC2-4E0B-8157-A3363555BFF4}"/>
          </ac:spMkLst>
        </pc:spChg>
        <pc:grpChg chg="add mod">
          <ac:chgData name="Thomas Stensitzki" userId="75cafe6b-2f2a-469b-85c4-eec3b9c972ba" providerId="ADAL" clId="{D6558802-9FD8-4B9D-BD9A-1AC8EA99CA7F}" dt="2019-10-27T10:37:21.125" v="1243" actId="164"/>
          <ac:grpSpMkLst>
            <pc:docMk/>
            <pc:sldMk cId="2116996515" sldId="278"/>
            <ac:grpSpMk id="8" creationId="{3792915B-1576-4720-BD73-706A9916B599}"/>
          </ac:grpSpMkLst>
        </pc:grpChg>
        <pc:picChg chg="add mod">
          <ac:chgData name="Thomas Stensitzki" userId="75cafe6b-2f2a-469b-85c4-eec3b9c972ba" providerId="ADAL" clId="{D6558802-9FD8-4B9D-BD9A-1AC8EA99CA7F}" dt="2019-10-27T10:37:21.125" v="1243" actId="164"/>
          <ac:picMkLst>
            <pc:docMk/>
            <pc:sldMk cId="2116996515" sldId="278"/>
            <ac:picMk id="7" creationId="{F2F887E5-81B5-4F95-99A1-442296B330DE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50042010" sldId="279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04:20.303" v="199" actId="20577"/>
        <pc:sldMkLst>
          <pc:docMk/>
          <pc:sldMk cId="3916536378" sldId="279"/>
        </pc:sldMkLst>
        <pc:spChg chg="del mod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2" creationId="{16AB3D00-EB0F-4C03-A1F5-DB7440670099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3" creationId="{74E9A4D4-0A07-4EDF-AD32-6E7F886CA8B5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4" creationId="{AF491120-5099-4843-8CC6-9339BF296D4B}"/>
          </ac:spMkLst>
        </pc:spChg>
        <pc:spChg chg="add mod">
          <ac:chgData name="Thomas Stensitzki" userId="75cafe6b-2f2a-469b-85c4-eec3b9c972ba" providerId="ADAL" clId="{D6558802-9FD8-4B9D-BD9A-1AC8EA99CA7F}" dt="2019-10-27T10:03:10.825" v="167" actId="208"/>
          <ac:spMkLst>
            <pc:docMk/>
            <pc:sldMk cId="3916536378" sldId="279"/>
            <ac:spMk id="9" creationId="{6D23342B-E4E3-4A82-9C16-8197A2F7A07E}"/>
          </ac:spMkLst>
        </pc:spChg>
        <pc:spChg chg="add mod">
          <ac:chgData name="Thomas Stensitzki" userId="75cafe6b-2f2a-469b-85c4-eec3b9c972ba" providerId="ADAL" clId="{D6558802-9FD8-4B9D-BD9A-1AC8EA99CA7F}" dt="2019-10-27T10:03:15.930" v="168" actId="208"/>
          <ac:spMkLst>
            <pc:docMk/>
            <pc:sldMk cId="3916536378" sldId="279"/>
            <ac:spMk id="10" creationId="{8F0E3211-7DAD-4539-884E-F35DF647D92D}"/>
          </ac:spMkLst>
        </pc:spChg>
        <pc:spChg chg="add">
          <ac:chgData name="Thomas Stensitzki" userId="75cafe6b-2f2a-469b-85c4-eec3b9c972ba" providerId="ADAL" clId="{D6558802-9FD8-4B9D-BD9A-1AC8EA99CA7F}" dt="2019-10-27T10:01:41.919" v="155"/>
          <ac:spMkLst>
            <pc:docMk/>
            <pc:sldMk cId="3916536378" sldId="279"/>
            <ac:spMk id="13" creationId="{3F358211-4282-42DA-87F2-D40B8014D029}"/>
          </ac:spMkLst>
        </pc:spChg>
        <pc:spChg chg="add mod">
          <ac:chgData name="Thomas Stensitzki" userId="75cafe6b-2f2a-469b-85c4-eec3b9c972ba" providerId="ADAL" clId="{D6558802-9FD8-4B9D-BD9A-1AC8EA99CA7F}" dt="2019-10-27T10:04:20.303" v="199" actId="20577"/>
          <ac:spMkLst>
            <pc:docMk/>
            <pc:sldMk cId="3916536378" sldId="279"/>
            <ac:spMk id="14" creationId="{00A03A00-96F4-4415-8A80-E6C31B62B1D3}"/>
          </ac:spMkLst>
        </pc:spChg>
        <pc:grpChg chg="add">
          <ac:chgData name="Thomas Stensitzki" userId="75cafe6b-2f2a-469b-85c4-eec3b9c972ba" providerId="ADAL" clId="{D6558802-9FD8-4B9D-BD9A-1AC8EA99CA7F}" dt="2019-10-27T10:01:41.919" v="155"/>
          <ac:grpSpMkLst>
            <pc:docMk/>
            <pc:sldMk cId="3916536378" sldId="279"/>
            <ac:grpSpMk id="6" creationId="{58A56F10-016A-4A49-8928-CA2397D35C5C}"/>
          </ac:grpSpMkLst>
        </pc:grpChg>
        <pc:graphicFrameChg chg="add mod">
          <ac:chgData name="Thomas Stensitzki" userId="75cafe6b-2f2a-469b-85c4-eec3b9c972ba" providerId="ADAL" clId="{D6558802-9FD8-4B9D-BD9A-1AC8EA99CA7F}" dt="2019-10-27T10:03:56.791" v="174" actId="208"/>
          <ac:graphicFrameMkLst>
            <pc:docMk/>
            <pc:sldMk cId="3916536378" sldId="279"/>
            <ac:graphicFrameMk id="5" creationId="{CB7F2F1E-8491-49E8-A797-E5FAE0608DAF}"/>
          </ac:graphicFrameMkLst>
        </pc:graphicFrame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1" creationId="{6D3CE15C-9C6F-4C32-AF12-EBD9BB1DA1FA}"/>
          </ac:picMkLst>
        </pc:pic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2" creationId="{D1139574-F5A7-41C8-87B5-3A767316CF90}"/>
          </ac:picMkLst>
        </pc:picChg>
      </pc:sldChg>
      <pc:sldChg chg="addSp modSp add ord modAnim">
        <pc:chgData name="Thomas Stensitzki" userId="75cafe6b-2f2a-469b-85c4-eec3b9c972ba" providerId="ADAL" clId="{D6558802-9FD8-4B9D-BD9A-1AC8EA99CA7F}" dt="2019-10-27T10:26:20.397" v="652" actId="5793"/>
        <pc:sldMkLst>
          <pc:docMk/>
          <pc:sldMk cId="234142031" sldId="280"/>
        </pc:sldMkLst>
        <pc:spChg chg="add mod">
          <ac:chgData name="Thomas Stensitzki" userId="75cafe6b-2f2a-469b-85c4-eec3b9c972ba" providerId="ADAL" clId="{D6558802-9FD8-4B9D-BD9A-1AC8EA99CA7F}" dt="2019-10-27T10:06:04.365" v="275" actId="20577"/>
          <ac:spMkLst>
            <pc:docMk/>
            <pc:sldMk cId="234142031" sldId="280"/>
            <ac:spMk id="2" creationId="{2C790A5D-A80F-415F-94A7-2F456C0C502C}"/>
          </ac:spMkLst>
        </pc:spChg>
        <pc:spChg chg="add mod">
          <ac:chgData name="Thomas Stensitzki" userId="75cafe6b-2f2a-469b-85c4-eec3b9c972ba" providerId="ADAL" clId="{D6558802-9FD8-4B9D-BD9A-1AC8EA99CA7F}" dt="2019-10-27T10:16:29.059" v="427" actId="14100"/>
          <ac:spMkLst>
            <pc:docMk/>
            <pc:sldMk cId="234142031" sldId="280"/>
            <ac:spMk id="3" creationId="{097477ED-A03B-4421-89A8-EB46EC94722B}"/>
          </ac:spMkLst>
        </pc:spChg>
        <pc:spChg chg="add mod">
          <ac:chgData name="Thomas Stensitzki" userId="75cafe6b-2f2a-469b-85c4-eec3b9c972ba" providerId="ADAL" clId="{D6558802-9FD8-4B9D-BD9A-1AC8EA99CA7F}" dt="2019-10-27T10:26:20.397" v="652" actId="5793"/>
          <ac:spMkLst>
            <pc:docMk/>
            <pc:sldMk cId="234142031" sldId="280"/>
            <ac:spMk id="4" creationId="{84291C01-F6FE-4BD3-BE3C-CBFAE622D2EE}"/>
          </ac:spMkLst>
        </pc:spChg>
        <pc:spChg chg="add mod">
          <ac:chgData name="Thomas Stensitzki" userId="75cafe6b-2f2a-469b-85c4-eec3b9c972ba" providerId="ADAL" clId="{D6558802-9FD8-4B9D-BD9A-1AC8EA99CA7F}" dt="2019-10-27T10:25:37.705" v="636" actId="1076"/>
          <ac:spMkLst>
            <pc:docMk/>
            <pc:sldMk cId="234142031" sldId="280"/>
            <ac:spMk id="7" creationId="{B11AD2DB-06B4-485D-A53F-9D608C274FD5}"/>
          </ac:spMkLst>
        </pc:spChg>
        <pc:graphicFrameChg chg="add mod modGraphic">
          <ac:chgData name="Thomas Stensitzki" userId="75cafe6b-2f2a-469b-85c4-eec3b9c972ba" providerId="ADAL" clId="{D6558802-9FD8-4B9D-BD9A-1AC8EA99CA7F}" dt="2019-10-27T10:21:48.967" v="628" actId="20577"/>
          <ac:graphicFrameMkLst>
            <pc:docMk/>
            <pc:sldMk cId="234142031" sldId="280"/>
            <ac:graphicFrameMk id="5" creationId="{0CEB356C-C237-4512-9F81-80D3C5B2649A}"/>
          </ac:graphicFrameMkLst>
        </pc:graphicFrame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671032201" sldId="28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32588270" sldId="281"/>
        </pc:sldMkLst>
      </pc:sldChg>
      <pc:sldChg chg="modSp add">
        <pc:chgData name="Thomas Stensitzki" userId="75cafe6b-2f2a-469b-85c4-eec3b9c972ba" providerId="ADAL" clId="{D6558802-9FD8-4B9D-BD9A-1AC8EA99CA7F}" dt="2019-10-27T10:31:24.718" v="895" actId="20577"/>
        <pc:sldMkLst>
          <pc:docMk/>
          <pc:sldMk cId="3270119054" sldId="281"/>
        </pc:sldMkLst>
        <pc:spChg chg="mod">
          <ac:chgData name="Thomas Stensitzki" userId="75cafe6b-2f2a-469b-85c4-eec3b9c972ba" providerId="ADAL" clId="{D6558802-9FD8-4B9D-BD9A-1AC8EA99CA7F}" dt="2019-10-27T10:26:29.508" v="653"/>
          <ac:spMkLst>
            <pc:docMk/>
            <pc:sldMk cId="3270119054" sldId="281"/>
            <ac:spMk id="2" creationId="{BE2C54D3-EEDB-4C58-A6C0-172B7373C613}"/>
          </ac:spMkLst>
        </pc:spChg>
        <pc:spChg chg="mod">
          <ac:chgData name="Thomas Stensitzki" userId="75cafe6b-2f2a-469b-85c4-eec3b9c972ba" providerId="ADAL" clId="{D6558802-9FD8-4B9D-BD9A-1AC8EA99CA7F}" dt="2019-10-27T10:30:37.343" v="828" actId="20577"/>
          <ac:spMkLst>
            <pc:docMk/>
            <pc:sldMk cId="3270119054" sldId="281"/>
            <ac:spMk id="3" creationId="{846837F5-A0F6-4309-9948-A01CACBBEB0B}"/>
          </ac:spMkLst>
        </pc:spChg>
        <pc:spChg chg="mod">
          <ac:chgData name="Thomas Stensitzki" userId="75cafe6b-2f2a-469b-85c4-eec3b9c972ba" providerId="ADAL" clId="{D6558802-9FD8-4B9D-BD9A-1AC8EA99CA7F}" dt="2019-10-27T10:31:24.718" v="895" actId="20577"/>
          <ac:spMkLst>
            <pc:docMk/>
            <pc:sldMk cId="3270119054" sldId="281"/>
            <ac:spMk id="4" creationId="{DE57DF87-5EF3-4C37-BE42-12028031E42C}"/>
          </ac:spMkLst>
        </pc:spChg>
      </pc:sldChg>
      <pc:sldChg chg="modSp add">
        <pc:chgData name="Thomas Stensitzki" userId="75cafe6b-2f2a-469b-85c4-eec3b9c972ba" providerId="ADAL" clId="{D6558802-9FD8-4B9D-BD9A-1AC8EA99CA7F}" dt="2019-10-27T10:33:29.318" v="1164" actId="20577"/>
        <pc:sldMkLst>
          <pc:docMk/>
          <pc:sldMk cId="1392728178" sldId="282"/>
        </pc:sldMkLst>
        <pc:spChg chg="mod">
          <ac:chgData name="Thomas Stensitzki" userId="75cafe6b-2f2a-469b-85c4-eec3b9c972ba" providerId="ADAL" clId="{D6558802-9FD8-4B9D-BD9A-1AC8EA99CA7F}" dt="2019-10-27T10:32:24.340" v="912" actId="20577"/>
          <ac:spMkLst>
            <pc:docMk/>
            <pc:sldMk cId="1392728178" sldId="282"/>
            <ac:spMk id="2" creationId="{99CACD2B-8D74-414D-A5E6-E8BFC9569BAD}"/>
          </ac:spMkLst>
        </pc:spChg>
        <pc:spChg chg="mod">
          <ac:chgData name="Thomas Stensitzki" userId="75cafe6b-2f2a-469b-85c4-eec3b9c972ba" providerId="ADAL" clId="{D6558802-9FD8-4B9D-BD9A-1AC8EA99CA7F}" dt="2019-10-27T10:33:29.318" v="1164" actId="20577"/>
          <ac:spMkLst>
            <pc:docMk/>
            <pc:sldMk cId="1392728178" sldId="282"/>
            <ac:spMk id="3" creationId="{A8DAF52B-C241-49D2-BBF8-9F407B6D340B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076058816" sldId="282"/>
        </pc:sldMkLst>
      </pc:sldChg>
      <pc:sldChg chg="addSp delSp modSp add del">
        <pc:chgData name="Thomas Stensitzki" userId="75cafe6b-2f2a-469b-85c4-eec3b9c972ba" providerId="ADAL" clId="{D6558802-9FD8-4B9D-BD9A-1AC8EA99CA7F}" dt="2019-10-27T10:14:26.863" v="419" actId="2696"/>
        <pc:sldMkLst>
          <pc:docMk/>
          <pc:sldMk cId="3713402295" sldId="282"/>
        </pc:sldMkLst>
        <pc:spChg chg="del mod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2" creationId="{45966F81-927C-4B7A-B8AE-D759956C9D74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3" creationId="{BB5A0BC8-4633-4D5A-A899-AFF25D150856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4" creationId="{218A0FBA-6821-47DF-8517-50515C6D83B4}"/>
          </ac:spMkLst>
        </pc:spChg>
        <pc:picChg chg="add mod">
          <ac:chgData name="Thomas Stensitzki" userId="75cafe6b-2f2a-469b-85c4-eec3b9c972ba" providerId="ADAL" clId="{D6558802-9FD8-4B9D-BD9A-1AC8EA99CA7F}" dt="2019-10-27T10:14:14.665" v="418"/>
          <ac:picMkLst>
            <pc:docMk/>
            <pc:sldMk cId="3713402295" sldId="282"/>
            <ac:picMk id="5" creationId="{4F4B53A6-8001-4686-9CFF-841F9F40706B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39882426" sldId="28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295375751" sldId="28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531332204" sldId="28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72513754" sldId="28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746320788" sldId="28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049271955" sldId="28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468189571" sldId="28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22891500" sldId="29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615471493" sldId="291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7286884" sldId="292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983307875" sldId="29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54480883" sldId="29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81329992" sldId="29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759766632" sldId="29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044294694" sldId="29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4146826759" sldId="29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887372333" sldId="29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170765889" sldId="30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659899239" sldId="301"/>
        </pc:sldMkLst>
      </pc:sldChg>
    </pc:docChg>
  </pc:docChgLst>
  <pc:docChgLst>
    <pc:chgData name="Thomas Stensitzki" userId="75cafe6b-2f2a-469b-85c4-eec3b9c972ba" providerId="ADAL" clId="{D2B74E2C-E95A-4225-AE58-CEE84E12AFBD}"/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0F544FC-56C4-4859-82BC-85AEBC7BDEE8}" type="doc">
      <dgm:prSet loTypeId="urn:microsoft.com/office/officeart/2005/8/layout/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de-DE"/>
        </a:p>
      </dgm:t>
    </dgm:pt>
    <dgm:pt modelId="{369AB549-F4B9-4C3E-A622-B0691B985378}">
      <dgm:prSet phldrT="[Text]"/>
      <dgm:spPr>
        <a:solidFill>
          <a:schemeClr val="accent6"/>
        </a:solidFill>
        <a:ln>
          <a:solidFill>
            <a:schemeClr val="accent6"/>
          </a:solidFill>
        </a:ln>
      </dgm:spPr>
      <dgm:t>
        <a:bodyPr/>
        <a:lstStyle/>
        <a:p>
          <a:r>
            <a:rPr lang="de-DE" b="1" dirty="0"/>
            <a:t>Standardisiert</a:t>
          </a:r>
        </a:p>
      </dgm:t>
    </dgm:pt>
    <dgm:pt modelId="{3A5131BB-9311-4617-A2E9-91BE75BFFD26}" type="parTrans" cxnId="{B14C45CD-9608-430D-A7DD-56A58F4D4CBC}">
      <dgm:prSet/>
      <dgm:spPr/>
      <dgm:t>
        <a:bodyPr/>
        <a:lstStyle/>
        <a:p>
          <a:endParaRPr lang="de-DE"/>
        </a:p>
      </dgm:t>
    </dgm:pt>
    <dgm:pt modelId="{F6BD79C5-A993-4955-AF89-551C3ECEDF7E}" type="sibTrans" cxnId="{B14C45CD-9608-430D-A7DD-56A58F4D4CBC}">
      <dgm:prSet/>
      <dgm:spPr/>
      <dgm:t>
        <a:bodyPr/>
        <a:lstStyle/>
        <a:p>
          <a:endParaRPr lang="de-DE"/>
        </a:p>
      </dgm:t>
    </dgm:pt>
    <dgm:pt modelId="{0C1A51C0-5ED7-43DB-9AF4-F003B61B83C0}">
      <dgm:prSet phldrT="[Text]"/>
      <dgm:spPr>
        <a:solidFill>
          <a:schemeClr val="bg2"/>
        </a:solidFill>
        <a:ln>
          <a:solidFill>
            <a:schemeClr val="bg2"/>
          </a:solidFill>
        </a:ln>
      </dgm:spPr>
      <dgm:t>
        <a:bodyPr/>
        <a:lstStyle/>
        <a:p>
          <a:r>
            <a:rPr lang="de-DE" b="1" dirty="0"/>
            <a:t>Empfohlen</a:t>
          </a:r>
        </a:p>
      </dgm:t>
    </dgm:pt>
    <dgm:pt modelId="{D814162D-E87C-44CF-A62E-A63FE5CDEE4A}" type="parTrans" cxnId="{CF12A47B-D079-4732-ACF0-98B5D765A926}">
      <dgm:prSet/>
      <dgm:spPr/>
      <dgm:t>
        <a:bodyPr/>
        <a:lstStyle/>
        <a:p>
          <a:endParaRPr lang="de-DE"/>
        </a:p>
      </dgm:t>
    </dgm:pt>
    <dgm:pt modelId="{98BEA667-0260-4256-8B02-AD77D05F935D}" type="sibTrans" cxnId="{CF12A47B-D079-4732-ACF0-98B5D765A926}">
      <dgm:prSet/>
      <dgm:spPr/>
      <dgm:t>
        <a:bodyPr/>
        <a:lstStyle/>
        <a:p>
          <a:endParaRPr lang="de-DE"/>
        </a:p>
      </dgm:t>
    </dgm:pt>
    <dgm:pt modelId="{26D58226-1D16-4D56-863A-FD9EE0F5351A}">
      <dgm:prSet phldrT="[Text]"/>
      <dgm:spPr>
        <a:solidFill>
          <a:schemeClr val="accent2"/>
        </a:solidFill>
        <a:ln>
          <a:solidFill>
            <a:schemeClr val="accent2"/>
          </a:solidFill>
        </a:ln>
      </dgm:spPr>
      <dgm:t>
        <a:bodyPr/>
        <a:lstStyle/>
        <a:p>
          <a:r>
            <a:rPr lang="de-DE" b="1" dirty="0"/>
            <a:t>Unterstützt</a:t>
          </a:r>
        </a:p>
      </dgm:t>
    </dgm:pt>
    <dgm:pt modelId="{5422437B-75E0-490A-8382-2D14DEF19155}" type="parTrans" cxnId="{475D8CA2-E1A2-490B-9083-6C2D3476A61C}">
      <dgm:prSet/>
      <dgm:spPr/>
      <dgm:t>
        <a:bodyPr/>
        <a:lstStyle/>
        <a:p>
          <a:endParaRPr lang="de-DE"/>
        </a:p>
      </dgm:t>
    </dgm:pt>
    <dgm:pt modelId="{F895C604-F318-4F7A-860B-B86E80E7C2C1}" type="sibTrans" cxnId="{475D8CA2-E1A2-490B-9083-6C2D3476A61C}">
      <dgm:prSet/>
      <dgm:spPr/>
      <dgm:t>
        <a:bodyPr/>
        <a:lstStyle/>
        <a:p>
          <a:endParaRPr lang="de-DE"/>
        </a:p>
      </dgm:t>
    </dgm:pt>
    <dgm:pt modelId="{DED3897B-2919-4157-B407-9E082DF510BD}">
      <dgm:prSet phldrT="[Text]"/>
      <dgm:spPr>
        <a:solidFill>
          <a:schemeClr val="accent5"/>
        </a:solidFill>
        <a:ln>
          <a:solidFill>
            <a:schemeClr val="accent5"/>
          </a:solidFill>
        </a:ln>
      </dgm:spPr>
      <dgm:t>
        <a:bodyPr/>
        <a:lstStyle/>
        <a:p>
          <a:r>
            <a:rPr lang="de-DE" b="1" dirty="0"/>
            <a:t>Strukturiert</a:t>
          </a:r>
        </a:p>
      </dgm:t>
    </dgm:pt>
    <dgm:pt modelId="{958B343A-C59C-423C-9448-CF21B86C264E}" type="parTrans" cxnId="{256567D3-509C-4B15-8910-CFADDF1C27A3}">
      <dgm:prSet/>
      <dgm:spPr/>
      <dgm:t>
        <a:bodyPr/>
        <a:lstStyle/>
        <a:p>
          <a:endParaRPr lang="de-DE"/>
        </a:p>
      </dgm:t>
    </dgm:pt>
    <dgm:pt modelId="{98D972C4-BE10-4790-9DC4-E11617516613}" type="sibTrans" cxnId="{256567D3-509C-4B15-8910-CFADDF1C27A3}">
      <dgm:prSet/>
      <dgm:spPr/>
      <dgm:t>
        <a:bodyPr/>
        <a:lstStyle/>
        <a:p>
          <a:endParaRPr lang="de-DE"/>
        </a:p>
      </dgm:t>
    </dgm:pt>
    <dgm:pt modelId="{C05C44AE-D168-404E-89D2-427F8667D9A2}">
      <dgm:prSet phldrT="[Text]"/>
      <dgm:spPr>
        <a:noFill/>
        <a:ln>
          <a:solidFill>
            <a:schemeClr val="accent6"/>
          </a:solidFill>
        </a:ln>
      </dgm:spPr>
      <dgm:t>
        <a:bodyPr/>
        <a:lstStyle/>
        <a:p>
          <a:pPr>
            <a:buFontTx/>
            <a:buNone/>
          </a:pPr>
          <a:r>
            <a:rPr lang="de-DE">
              <a:solidFill>
                <a:schemeClr val="tx1"/>
              </a:solidFill>
            </a:rPr>
            <a:t>Exchange Online</a:t>
          </a:r>
          <a:endParaRPr lang="de-DE" dirty="0">
            <a:solidFill>
              <a:schemeClr val="tx1"/>
            </a:solidFill>
          </a:endParaRPr>
        </a:p>
      </dgm:t>
    </dgm:pt>
    <dgm:pt modelId="{DF97994B-D0FD-43C4-8222-E0B6A950EB9F}" type="parTrans" cxnId="{AED71155-80BD-4B68-85C1-4BE7B95994AB}">
      <dgm:prSet/>
      <dgm:spPr/>
      <dgm:t>
        <a:bodyPr/>
        <a:lstStyle/>
        <a:p>
          <a:endParaRPr lang="de-DE"/>
        </a:p>
      </dgm:t>
    </dgm:pt>
    <dgm:pt modelId="{D626251A-588E-4EBF-9126-F61C4309B59E}" type="sibTrans" cxnId="{AED71155-80BD-4B68-85C1-4BE7B95994AB}">
      <dgm:prSet/>
      <dgm:spPr/>
      <dgm:t>
        <a:bodyPr/>
        <a:lstStyle/>
        <a:p>
          <a:endParaRPr lang="de-DE"/>
        </a:p>
      </dgm:t>
    </dgm:pt>
    <dgm:pt modelId="{46F67A77-159B-4DBA-B87D-02D40A4607E2}">
      <dgm:prSet phldrT="[Text]"/>
      <dgm:spPr>
        <a:noFill/>
        <a:ln>
          <a:solidFill>
            <a:schemeClr val="accent5"/>
          </a:solidFill>
        </a:ln>
      </dgm:spPr>
      <dgm:t>
        <a:bodyPr/>
        <a:lstStyle/>
        <a:p>
          <a:pPr>
            <a:buFontTx/>
            <a:buNone/>
          </a:pPr>
          <a:r>
            <a:rPr lang="de-DE" dirty="0">
              <a:solidFill>
                <a:schemeClr val="tx1"/>
              </a:solidFill>
            </a:rPr>
            <a:t>Exchange On-Premises </a:t>
          </a:r>
          <a:r>
            <a:rPr lang="de-DE" i="1" dirty="0">
              <a:solidFill>
                <a:schemeClr val="tx1"/>
              </a:solidFill>
            </a:rPr>
            <a:t>Preferred Architecture Design</a:t>
          </a:r>
        </a:p>
      </dgm:t>
    </dgm:pt>
    <dgm:pt modelId="{D4B839DE-8A3D-4A44-B34A-5C2372A31BBD}" type="parTrans" cxnId="{84B2F3DB-C368-47D2-8712-3C2767BE77F7}">
      <dgm:prSet/>
      <dgm:spPr/>
      <dgm:t>
        <a:bodyPr/>
        <a:lstStyle/>
        <a:p>
          <a:endParaRPr lang="de-DE"/>
        </a:p>
      </dgm:t>
    </dgm:pt>
    <dgm:pt modelId="{E2EC5762-65AF-4094-8EB8-DE4D04885E07}" type="sibTrans" cxnId="{84B2F3DB-C368-47D2-8712-3C2767BE77F7}">
      <dgm:prSet/>
      <dgm:spPr/>
      <dgm:t>
        <a:bodyPr/>
        <a:lstStyle/>
        <a:p>
          <a:endParaRPr lang="de-DE"/>
        </a:p>
      </dgm:t>
    </dgm:pt>
    <dgm:pt modelId="{B2F836A6-0FBB-4657-9E2C-B537AD7B3B01}">
      <dgm:prSet phldrT="[Text]"/>
      <dgm:spPr>
        <a:noFill/>
        <a:ln>
          <a:solidFill>
            <a:schemeClr val="bg2"/>
          </a:solidFill>
        </a:ln>
      </dgm:spPr>
      <dgm:t>
        <a:bodyPr/>
        <a:lstStyle/>
        <a:p>
          <a:pPr>
            <a:buFontTx/>
            <a:buNone/>
          </a:pPr>
          <a:r>
            <a:rPr lang="de-DE" dirty="0">
              <a:solidFill>
                <a:schemeClr val="tx1"/>
              </a:solidFill>
            </a:rPr>
            <a:t>Exchange On-Premises </a:t>
          </a:r>
          <a:r>
            <a:rPr lang="de-DE" i="1" dirty="0">
              <a:solidFill>
                <a:schemeClr val="tx1"/>
              </a:solidFill>
            </a:rPr>
            <a:t>Best Practices Design</a:t>
          </a:r>
        </a:p>
      </dgm:t>
    </dgm:pt>
    <dgm:pt modelId="{8E6A9CCC-D58A-49D6-979F-2C831723246B}" type="parTrans" cxnId="{876EBF00-F17A-4A42-A110-1EDB6C164098}">
      <dgm:prSet/>
      <dgm:spPr/>
      <dgm:t>
        <a:bodyPr/>
        <a:lstStyle/>
        <a:p>
          <a:endParaRPr lang="de-DE"/>
        </a:p>
      </dgm:t>
    </dgm:pt>
    <dgm:pt modelId="{1E60CEDD-D9D9-4386-82AA-5CCAD1207E93}" type="sibTrans" cxnId="{876EBF00-F17A-4A42-A110-1EDB6C164098}">
      <dgm:prSet/>
      <dgm:spPr/>
      <dgm:t>
        <a:bodyPr/>
        <a:lstStyle/>
        <a:p>
          <a:endParaRPr lang="de-DE"/>
        </a:p>
      </dgm:t>
    </dgm:pt>
    <dgm:pt modelId="{41932385-F57C-4596-AB17-7BE2496F4BE8}">
      <dgm:prSet phldrT="[Text]"/>
      <dgm:spPr>
        <a:solidFill>
          <a:srgbClr val="C00000"/>
        </a:solidFill>
        <a:ln>
          <a:solidFill>
            <a:srgbClr val="FF0000"/>
          </a:solidFill>
        </a:ln>
      </dgm:spPr>
      <dgm:t>
        <a:bodyPr/>
        <a:lstStyle/>
        <a:p>
          <a:r>
            <a:rPr lang="de-DE" b="1" dirty="0"/>
            <a:t>Funktioniert</a:t>
          </a:r>
        </a:p>
      </dgm:t>
    </dgm:pt>
    <dgm:pt modelId="{AAE19EF6-C214-4D52-9CB7-823E5F06EE37}" type="parTrans" cxnId="{7E263F2E-31D1-4841-A8EC-45579B10F067}">
      <dgm:prSet/>
      <dgm:spPr/>
      <dgm:t>
        <a:bodyPr/>
        <a:lstStyle/>
        <a:p>
          <a:endParaRPr lang="de-DE"/>
        </a:p>
      </dgm:t>
    </dgm:pt>
    <dgm:pt modelId="{9D99F18B-F9F5-47CC-8643-60312C7CFA96}" type="sibTrans" cxnId="{7E263F2E-31D1-4841-A8EC-45579B10F067}">
      <dgm:prSet/>
      <dgm:spPr/>
      <dgm:t>
        <a:bodyPr/>
        <a:lstStyle/>
        <a:p>
          <a:endParaRPr lang="de-DE"/>
        </a:p>
      </dgm:t>
    </dgm:pt>
    <dgm:pt modelId="{7D2B34E4-55DC-42BE-BFF6-CD37FFCD6149}">
      <dgm:prSet phldrT="[Text]"/>
      <dgm:spPr>
        <a:noFill/>
        <a:ln>
          <a:solidFill>
            <a:srgbClr val="C00000"/>
          </a:solidFill>
        </a:ln>
      </dgm:spPr>
      <dgm:t>
        <a:bodyPr/>
        <a:lstStyle/>
        <a:p>
          <a:pPr>
            <a:buFontTx/>
            <a:buNone/>
          </a:pPr>
          <a:r>
            <a:rPr lang="de-DE" dirty="0">
              <a:solidFill>
                <a:schemeClr val="tx1"/>
              </a:solidFill>
            </a:rPr>
            <a:t>Exchange On-Premises </a:t>
          </a:r>
          <a:r>
            <a:rPr lang="de-DE" b="0" i="1" dirty="0">
              <a:solidFill>
                <a:schemeClr val="tx1"/>
              </a:solidFill>
            </a:rPr>
            <a:t>nicht unterstütztes Design</a:t>
          </a:r>
        </a:p>
      </dgm:t>
    </dgm:pt>
    <dgm:pt modelId="{9D0EC86D-4741-4519-B68A-BD20EE89B1C4}" type="parTrans" cxnId="{E831A69F-1A9E-447A-8A9D-8BB3547BDA63}">
      <dgm:prSet/>
      <dgm:spPr/>
      <dgm:t>
        <a:bodyPr/>
        <a:lstStyle/>
        <a:p>
          <a:endParaRPr lang="de-DE"/>
        </a:p>
      </dgm:t>
    </dgm:pt>
    <dgm:pt modelId="{0992AA10-1D48-4E80-B9F0-BD8E78DBDA24}" type="sibTrans" cxnId="{E831A69F-1A9E-447A-8A9D-8BB3547BDA63}">
      <dgm:prSet/>
      <dgm:spPr/>
      <dgm:t>
        <a:bodyPr/>
        <a:lstStyle/>
        <a:p>
          <a:endParaRPr lang="de-DE"/>
        </a:p>
      </dgm:t>
    </dgm:pt>
    <dgm:pt modelId="{4E89AD30-219F-46BA-A2EC-866EED0BB55D}">
      <dgm:prSet phldrT="[Text]"/>
      <dgm:spPr>
        <a:noFill/>
        <a:ln>
          <a:solidFill>
            <a:schemeClr val="accent2"/>
          </a:solidFill>
        </a:ln>
      </dgm:spPr>
      <dgm:t>
        <a:bodyPr/>
        <a:lstStyle/>
        <a:p>
          <a:pPr>
            <a:buFontTx/>
            <a:buNone/>
          </a:pPr>
          <a:r>
            <a:rPr lang="de-DE" dirty="0">
              <a:solidFill>
                <a:schemeClr val="tx1"/>
              </a:solidFill>
            </a:rPr>
            <a:t>Exchange On-Premises </a:t>
          </a:r>
          <a:r>
            <a:rPr lang="de-DE" i="1" dirty="0">
              <a:solidFill>
                <a:schemeClr val="tx1"/>
              </a:solidFill>
            </a:rPr>
            <a:t>angepasstes Design</a:t>
          </a:r>
        </a:p>
      </dgm:t>
    </dgm:pt>
    <dgm:pt modelId="{70813443-5B54-42D3-AE05-E4B3B9BB88BD}" type="parTrans" cxnId="{8C3939F9-0215-474F-83AA-D077B7213622}">
      <dgm:prSet/>
      <dgm:spPr/>
      <dgm:t>
        <a:bodyPr/>
        <a:lstStyle/>
        <a:p>
          <a:endParaRPr lang="de-DE"/>
        </a:p>
      </dgm:t>
    </dgm:pt>
    <dgm:pt modelId="{B1CB1BBA-5EF5-4145-A905-DF5FEB35A6F2}" type="sibTrans" cxnId="{8C3939F9-0215-474F-83AA-D077B7213622}">
      <dgm:prSet/>
      <dgm:spPr/>
      <dgm:t>
        <a:bodyPr/>
        <a:lstStyle/>
        <a:p>
          <a:endParaRPr lang="de-DE"/>
        </a:p>
      </dgm:t>
    </dgm:pt>
    <dgm:pt modelId="{683C947E-3503-45CF-91B5-23452C302412}" type="pres">
      <dgm:prSet presAssocID="{40F544FC-56C4-4859-82BC-85AEBC7BDEE8}" presName="linear" presStyleCnt="0">
        <dgm:presLayoutVars>
          <dgm:dir/>
          <dgm:animLvl val="lvl"/>
          <dgm:resizeHandles val="exact"/>
        </dgm:presLayoutVars>
      </dgm:prSet>
      <dgm:spPr/>
    </dgm:pt>
    <dgm:pt modelId="{EFCD6AD2-E9FC-4196-912C-4A37BC3E6A4F}" type="pres">
      <dgm:prSet presAssocID="{369AB549-F4B9-4C3E-A622-B0691B985378}" presName="parentLin" presStyleCnt="0"/>
      <dgm:spPr/>
    </dgm:pt>
    <dgm:pt modelId="{317FA069-E3EE-42BE-941F-3385F45994CA}" type="pres">
      <dgm:prSet presAssocID="{369AB549-F4B9-4C3E-A622-B0691B985378}" presName="parentLeftMargin" presStyleLbl="node1" presStyleIdx="0" presStyleCnt="5"/>
      <dgm:spPr/>
    </dgm:pt>
    <dgm:pt modelId="{C3FB5E77-A622-4661-B0D6-6FEEA709BCD8}" type="pres">
      <dgm:prSet presAssocID="{369AB549-F4B9-4C3E-A622-B0691B985378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D8B92F41-B514-46FA-B90B-BC8BF26442FC}" type="pres">
      <dgm:prSet presAssocID="{369AB549-F4B9-4C3E-A622-B0691B985378}" presName="negativeSpace" presStyleCnt="0"/>
      <dgm:spPr/>
    </dgm:pt>
    <dgm:pt modelId="{DBFA1B52-1A7B-413F-BC10-DC48C465DF7D}" type="pres">
      <dgm:prSet presAssocID="{369AB549-F4B9-4C3E-A622-B0691B985378}" presName="childText" presStyleLbl="conFgAcc1" presStyleIdx="0" presStyleCnt="5">
        <dgm:presLayoutVars>
          <dgm:bulletEnabled val="1"/>
        </dgm:presLayoutVars>
      </dgm:prSet>
      <dgm:spPr/>
    </dgm:pt>
    <dgm:pt modelId="{9EA09AC0-E816-4738-B9BD-6B0BB1A3D920}" type="pres">
      <dgm:prSet presAssocID="{F6BD79C5-A993-4955-AF89-551C3ECEDF7E}" presName="spaceBetweenRectangles" presStyleCnt="0"/>
      <dgm:spPr/>
    </dgm:pt>
    <dgm:pt modelId="{892C9435-466F-4965-8A9B-99A532143BBA}" type="pres">
      <dgm:prSet presAssocID="{DED3897B-2919-4157-B407-9E082DF510BD}" presName="parentLin" presStyleCnt="0"/>
      <dgm:spPr/>
    </dgm:pt>
    <dgm:pt modelId="{0AD1C3EE-44C6-40DA-8476-FE857852B003}" type="pres">
      <dgm:prSet presAssocID="{DED3897B-2919-4157-B407-9E082DF510BD}" presName="parentLeftMargin" presStyleLbl="node1" presStyleIdx="0" presStyleCnt="5"/>
      <dgm:spPr/>
    </dgm:pt>
    <dgm:pt modelId="{010A4C98-5CBD-49E9-A2A9-BBC0DD5AA24A}" type="pres">
      <dgm:prSet presAssocID="{DED3897B-2919-4157-B407-9E082DF510BD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826D7884-32DD-469B-BA9F-572DDF4C6235}" type="pres">
      <dgm:prSet presAssocID="{DED3897B-2919-4157-B407-9E082DF510BD}" presName="negativeSpace" presStyleCnt="0"/>
      <dgm:spPr/>
    </dgm:pt>
    <dgm:pt modelId="{E7F412DE-39EF-4238-BBB1-7A2343644F22}" type="pres">
      <dgm:prSet presAssocID="{DED3897B-2919-4157-B407-9E082DF510BD}" presName="childText" presStyleLbl="conFgAcc1" presStyleIdx="1" presStyleCnt="5">
        <dgm:presLayoutVars>
          <dgm:bulletEnabled val="1"/>
        </dgm:presLayoutVars>
      </dgm:prSet>
      <dgm:spPr/>
    </dgm:pt>
    <dgm:pt modelId="{63636516-CC7F-47FA-8179-FC954F0F0857}" type="pres">
      <dgm:prSet presAssocID="{98D972C4-BE10-4790-9DC4-E11617516613}" presName="spaceBetweenRectangles" presStyleCnt="0"/>
      <dgm:spPr/>
    </dgm:pt>
    <dgm:pt modelId="{CA3128E2-CD82-4003-B569-516A0EA060FA}" type="pres">
      <dgm:prSet presAssocID="{0C1A51C0-5ED7-43DB-9AF4-F003B61B83C0}" presName="parentLin" presStyleCnt="0"/>
      <dgm:spPr/>
    </dgm:pt>
    <dgm:pt modelId="{DB9229BB-1B55-487E-B7FF-EEB6082D564B}" type="pres">
      <dgm:prSet presAssocID="{0C1A51C0-5ED7-43DB-9AF4-F003B61B83C0}" presName="parentLeftMargin" presStyleLbl="node1" presStyleIdx="1" presStyleCnt="5"/>
      <dgm:spPr/>
    </dgm:pt>
    <dgm:pt modelId="{12D17559-FAF0-4C22-9672-6416D1040A63}" type="pres">
      <dgm:prSet presAssocID="{0C1A51C0-5ED7-43DB-9AF4-F003B61B83C0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16F97A4C-FDF3-4096-B52B-4E6D761E3267}" type="pres">
      <dgm:prSet presAssocID="{0C1A51C0-5ED7-43DB-9AF4-F003B61B83C0}" presName="negativeSpace" presStyleCnt="0"/>
      <dgm:spPr/>
    </dgm:pt>
    <dgm:pt modelId="{BF43F0EA-D1EA-4182-8FA3-74BDE26B8A87}" type="pres">
      <dgm:prSet presAssocID="{0C1A51C0-5ED7-43DB-9AF4-F003B61B83C0}" presName="childText" presStyleLbl="conFgAcc1" presStyleIdx="2" presStyleCnt="5">
        <dgm:presLayoutVars>
          <dgm:bulletEnabled val="1"/>
        </dgm:presLayoutVars>
      </dgm:prSet>
      <dgm:spPr/>
    </dgm:pt>
    <dgm:pt modelId="{DA609DB7-98D2-4B3F-B7F3-D1641593895F}" type="pres">
      <dgm:prSet presAssocID="{98BEA667-0260-4256-8B02-AD77D05F935D}" presName="spaceBetweenRectangles" presStyleCnt="0"/>
      <dgm:spPr/>
    </dgm:pt>
    <dgm:pt modelId="{2B3DE76A-A102-4982-8BF8-F68D431CC180}" type="pres">
      <dgm:prSet presAssocID="{26D58226-1D16-4D56-863A-FD9EE0F5351A}" presName="parentLin" presStyleCnt="0"/>
      <dgm:spPr/>
    </dgm:pt>
    <dgm:pt modelId="{DB6E280C-06C5-4DBC-AA53-A4019A59849C}" type="pres">
      <dgm:prSet presAssocID="{26D58226-1D16-4D56-863A-FD9EE0F5351A}" presName="parentLeftMargin" presStyleLbl="node1" presStyleIdx="2" presStyleCnt="5"/>
      <dgm:spPr/>
    </dgm:pt>
    <dgm:pt modelId="{9F6D1E16-1AB7-45D9-9B3C-B1FCDD1CFE32}" type="pres">
      <dgm:prSet presAssocID="{26D58226-1D16-4D56-863A-FD9EE0F5351A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F05C994F-22C9-4F9D-A345-E6162480CC61}" type="pres">
      <dgm:prSet presAssocID="{26D58226-1D16-4D56-863A-FD9EE0F5351A}" presName="negativeSpace" presStyleCnt="0"/>
      <dgm:spPr/>
    </dgm:pt>
    <dgm:pt modelId="{45E3F371-252F-43A8-8869-0A0E6540D330}" type="pres">
      <dgm:prSet presAssocID="{26D58226-1D16-4D56-863A-FD9EE0F5351A}" presName="childText" presStyleLbl="conFgAcc1" presStyleIdx="3" presStyleCnt="5">
        <dgm:presLayoutVars>
          <dgm:bulletEnabled val="1"/>
        </dgm:presLayoutVars>
      </dgm:prSet>
      <dgm:spPr/>
    </dgm:pt>
    <dgm:pt modelId="{D38DBD86-A1FC-4CB1-8DBE-7EBC7C03DFD0}" type="pres">
      <dgm:prSet presAssocID="{F895C604-F318-4F7A-860B-B86E80E7C2C1}" presName="spaceBetweenRectangles" presStyleCnt="0"/>
      <dgm:spPr/>
    </dgm:pt>
    <dgm:pt modelId="{33AD9FA4-385D-4C37-846C-17B30F9B51EE}" type="pres">
      <dgm:prSet presAssocID="{41932385-F57C-4596-AB17-7BE2496F4BE8}" presName="parentLin" presStyleCnt="0"/>
      <dgm:spPr/>
    </dgm:pt>
    <dgm:pt modelId="{ADC03C64-24F6-4D67-83E7-24F1C49E8AB5}" type="pres">
      <dgm:prSet presAssocID="{41932385-F57C-4596-AB17-7BE2496F4BE8}" presName="parentLeftMargin" presStyleLbl="node1" presStyleIdx="3" presStyleCnt="5"/>
      <dgm:spPr/>
    </dgm:pt>
    <dgm:pt modelId="{6ADD4D14-91D6-4CBC-9E39-CF584F076EC0}" type="pres">
      <dgm:prSet presAssocID="{41932385-F57C-4596-AB17-7BE2496F4BE8}" presName="parentText" presStyleLbl="node1" presStyleIdx="4" presStyleCnt="5">
        <dgm:presLayoutVars>
          <dgm:chMax val="0"/>
          <dgm:bulletEnabled val="1"/>
        </dgm:presLayoutVars>
      </dgm:prSet>
      <dgm:spPr/>
    </dgm:pt>
    <dgm:pt modelId="{996A7548-970C-4F24-BD59-BEB470C859BF}" type="pres">
      <dgm:prSet presAssocID="{41932385-F57C-4596-AB17-7BE2496F4BE8}" presName="negativeSpace" presStyleCnt="0"/>
      <dgm:spPr/>
    </dgm:pt>
    <dgm:pt modelId="{DF79483F-1A19-4B9F-8320-AA94BF66DD67}" type="pres">
      <dgm:prSet presAssocID="{41932385-F57C-4596-AB17-7BE2496F4BE8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876EBF00-F17A-4A42-A110-1EDB6C164098}" srcId="{0C1A51C0-5ED7-43DB-9AF4-F003B61B83C0}" destId="{B2F836A6-0FBB-4657-9E2C-B537AD7B3B01}" srcOrd="0" destOrd="0" parTransId="{8E6A9CCC-D58A-49D6-979F-2C831723246B}" sibTransId="{1E60CEDD-D9D9-4386-82AA-5CCAD1207E93}"/>
    <dgm:cxn modelId="{AE2D3408-EF95-4500-A685-14EAE364B4E8}" type="presOf" srcId="{C05C44AE-D168-404E-89D2-427F8667D9A2}" destId="{DBFA1B52-1A7B-413F-BC10-DC48C465DF7D}" srcOrd="0" destOrd="0" presId="urn:microsoft.com/office/officeart/2005/8/layout/list1"/>
    <dgm:cxn modelId="{7E263F2E-31D1-4841-A8EC-45579B10F067}" srcId="{40F544FC-56C4-4859-82BC-85AEBC7BDEE8}" destId="{41932385-F57C-4596-AB17-7BE2496F4BE8}" srcOrd="4" destOrd="0" parTransId="{AAE19EF6-C214-4D52-9CB7-823E5F06EE37}" sibTransId="{9D99F18B-F9F5-47CC-8643-60312C7CFA96}"/>
    <dgm:cxn modelId="{9C4BE138-267C-4868-905D-A80DAE711D08}" type="presOf" srcId="{46F67A77-159B-4DBA-B87D-02D40A4607E2}" destId="{E7F412DE-39EF-4238-BBB1-7A2343644F22}" srcOrd="0" destOrd="0" presId="urn:microsoft.com/office/officeart/2005/8/layout/list1"/>
    <dgm:cxn modelId="{55487740-8127-4876-8F10-21C044F58AAD}" type="presOf" srcId="{40F544FC-56C4-4859-82BC-85AEBC7BDEE8}" destId="{683C947E-3503-45CF-91B5-23452C302412}" srcOrd="0" destOrd="0" presId="urn:microsoft.com/office/officeart/2005/8/layout/list1"/>
    <dgm:cxn modelId="{A1E88F69-3E50-4142-9886-123BBF5AB12A}" type="presOf" srcId="{26D58226-1D16-4D56-863A-FD9EE0F5351A}" destId="{9F6D1E16-1AB7-45D9-9B3C-B1FCDD1CFE32}" srcOrd="1" destOrd="0" presId="urn:microsoft.com/office/officeart/2005/8/layout/list1"/>
    <dgm:cxn modelId="{9CAF2550-92FC-4DE5-BA37-CA1EC13F6F7B}" type="presOf" srcId="{26D58226-1D16-4D56-863A-FD9EE0F5351A}" destId="{DB6E280C-06C5-4DBC-AA53-A4019A59849C}" srcOrd="0" destOrd="0" presId="urn:microsoft.com/office/officeart/2005/8/layout/list1"/>
    <dgm:cxn modelId="{AED71155-80BD-4B68-85C1-4BE7B95994AB}" srcId="{369AB549-F4B9-4C3E-A622-B0691B985378}" destId="{C05C44AE-D168-404E-89D2-427F8667D9A2}" srcOrd="0" destOrd="0" parTransId="{DF97994B-D0FD-43C4-8222-E0B6A950EB9F}" sibTransId="{D626251A-588E-4EBF-9126-F61C4309B59E}"/>
    <dgm:cxn modelId="{EA3D8E76-0A64-4710-BB1F-1BF7597E455C}" type="presOf" srcId="{0C1A51C0-5ED7-43DB-9AF4-F003B61B83C0}" destId="{DB9229BB-1B55-487E-B7FF-EEB6082D564B}" srcOrd="0" destOrd="0" presId="urn:microsoft.com/office/officeart/2005/8/layout/list1"/>
    <dgm:cxn modelId="{69633C77-E520-434D-BF0D-437B0E4464AC}" type="presOf" srcId="{B2F836A6-0FBB-4657-9E2C-B537AD7B3B01}" destId="{BF43F0EA-D1EA-4182-8FA3-74BDE26B8A87}" srcOrd="0" destOrd="0" presId="urn:microsoft.com/office/officeart/2005/8/layout/list1"/>
    <dgm:cxn modelId="{C8A96959-777C-4DF4-A343-177C022425BF}" type="presOf" srcId="{0C1A51C0-5ED7-43DB-9AF4-F003B61B83C0}" destId="{12D17559-FAF0-4C22-9672-6416D1040A63}" srcOrd="1" destOrd="0" presId="urn:microsoft.com/office/officeart/2005/8/layout/list1"/>
    <dgm:cxn modelId="{CF12A47B-D079-4732-ACF0-98B5D765A926}" srcId="{40F544FC-56C4-4859-82BC-85AEBC7BDEE8}" destId="{0C1A51C0-5ED7-43DB-9AF4-F003B61B83C0}" srcOrd="2" destOrd="0" parTransId="{D814162D-E87C-44CF-A62E-A63FE5CDEE4A}" sibTransId="{98BEA667-0260-4256-8B02-AD77D05F935D}"/>
    <dgm:cxn modelId="{10C1B082-81B0-4DD3-B5AB-6733EAC42D67}" type="presOf" srcId="{369AB549-F4B9-4C3E-A622-B0691B985378}" destId="{C3FB5E77-A622-4661-B0D6-6FEEA709BCD8}" srcOrd="1" destOrd="0" presId="urn:microsoft.com/office/officeart/2005/8/layout/list1"/>
    <dgm:cxn modelId="{2839EF89-C008-4235-A756-DE200D118A01}" type="presOf" srcId="{369AB549-F4B9-4C3E-A622-B0691B985378}" destId="{317FA069-E3EE-42BE-941F-3385F45994CA}" srcOrd="0" destOrd="0" presId="urn:microsoft.com/office/officeart/2005/8/layout/list1"/>
    <dgm:cxn modelId="{A6267F93-80F2-428D-AF6F-C206132FEE54}" type="presOf" srcId="{DED3897B-2919-4157-B407-9E082DF510BD}" destId="{0AD1C3EE-44C6-40DA-8476-FE857852B003}" srcOrd="0" destOrd="0" presId="urn:microsoft.com/office/officeart/2005/8/layout/list1"/>
    <dgm:cxn modelId="{E831A69F-1A9E-447A-8A9D-8BB3547BDA63}" srcId="{41932385-F57C-4596-AB17-7BE2496F4BE8}" destId="{7D2B34E4-55DC-42BE-BFF6-CD37FFCD6149}" srcOrd="0" destOrd="0" parTransId="{9D0EC86D-4741-4519-B68A-BD20EE89B1C4}" sibTransId="{0992AA10-1D48-4E80-B9F0-BD8E78DBDA24}"/>
    <dgm:cxn modelId="{475D8CA2-E1A2-490B-9083-6C2D3476A61C}" srcId="{40F544FC-56C4-4859-82BC-85AEBC7BDEE8}" destId="{26D58226-1D16-4D56-863A-FD9EE0F5351A}" srcOrd="3" destOrd="0" parTransId="{5422437B-75E0-490A-8382-2D14DEF19155}" sibTransId="{F895C604-F318-4F7A-860B-B86E80E7C2C1}"/>
    <dgm:cxn modelId="{53B2DFAC-0B7A-4676-8E4E-5EEC1320F6A1}" type="presOf" srcId="{7D2B34E4-55DC-42BE-BFF6-CD37FFCD6149}" destId="{DF79483F-1A19-4B9F-8320-AA94BF66DD67}" srcOrd="0" destOrd="0" presId="urn:microsoft.com/office/officeart/2005/8/layout/list1"/>
    <dgm:cxn modelId="{B14C45CD-9608-430D-A7DD-56A58F4D4CBC}" srcId="{40F544FC-56C4-4859-82BC-85AEBC7BDEE8}" destId="{369AB549-F4B9-4C3E-A622-B0691B985378}" srcOrd="0" destOrd="0" parTransId="{3A5131BB-9311-4617-A2E9-91BE75BFFD26}" sibTransId="{F6BD79C5-A993-4955-AF89-551C3ECEDF7E}"/>
    <dgm:cxn modelId="{7BD7C0CF-B86C-4F41-A0E3-2940D70C8BA6}" type="presOf" srcId="{DED3897B-2919-4157-B407-9E082DF510BD}" destId="{010A4C98-5CBD-49E9-A2A9-BBC0DD5AA24A}" srcOrd="1" destOrd="0" presId="urn:microsoft.com/office/officeart/2005/8/layout/list1"/>
    <dgm:cxn modelId="{256567D3-509C-4B15-8910-CFADDF1C27A3}" srcId="{40F544FC-56C4-4859-82BC-85AEBC7BDEE8}" destId="{DED3897B-2919-4157-B407-9E082DF510BD}" srcOrd="1" destOrd="0" parTransId="{958B343A-C59C-423C-9448-CF21B86C264E}" sibTransId="{98D972C4-BE10-4790-9DC4-E11617516613}"/>
    <dgm:cxn modelId="{6A7F4CD6-D1CF-4AE0-A70E-3F496748180B}" type="presOf" srcId="{41932385-F57C-4596-AB17-7BE2496F4BE8}" destId="{6ADD4D14-91D6-4CBC-9E39-CF584F076EC0}" srcOrd="1" destOrd="0" presId="urn:microsoft.com/office/officeart/2005/8/layout/list1"/>
    <dgm:cxn modelId="{84B2F3DB-C368-47D2-8712-3C2767BE77F7}" srcId="{DED3897B-2919-4157-B407-9E082DF510BD}" destId="{46F67A77-159B-4DBA-B87D-02D40A4607E2}" srcOrd="0" destOrd="0" parTransId="{D4B839DE-8A3D-4A44-B34A-5C2372A31BBD}" sibTransId="{E2EC5762-65AF-4094-8EB8-DE4D04885E07}"/>
    <dgm:cxn modelId="{28CBEADF-A0C0-428E-92EB-7396EC16E390}" type="presOf" srcId="{41932385-F57C-4596-AB17-7BE2496F4BE8}" destId="{ADC03C64-24F6-4D67-83E7-24F1C49E8AB5}" srcOrd="0" destOrd="0" presId="urn:microsoft.com/office/officeart/2005/8/layout/list1"/>
    <dgm:cxn modelId="{E9A23FE2-584F-45B4-9DDA-D59886887AEB}" type="presOf" srcId="{4E89AD30-219F-46BA-A2EC-866EED0BB55D}" destId="{45E3F371-252F-43A8-8869-0A0E6540D330}" srcOrd="0" destOrd="0" presId="urn:microsoft.com/office/officeart/2005/8/layout/list1"/>
    <dgm:cxn modelId="{8C3939F9-0215-474F-83AA-D077B7213622}" srcId="{26D58226-1D16-4D56-863A-FD9EE0F5351A}" destId="{4E89AD30-219F-46BA-A2EC-866EED0BB55D}" srcOrd="0" destOrd="0" parTransId="{70813443-5B54-42D3-AE05-E4B3B9BB88BD}" sibTransId="{B1CB1BBA-5EF5-4145-A905-DF5FEB35A6F2}"/>
    <dgm:cxn modelId="{8EF82775-ABEC-4909-875A-00115226C9AB}" type="presParOf" srcId="{683C947E-3503-45CF-91B5-23452C302412}" destId="{EFCD6AD2-E9FC-4196-912C-4A37BC3E6A4F}" srcOrd="0" destOrd="0" presId="urn:microsoft.com/office/officeart/2005/8/layout/list1"/>
    <dgm:cxn modelId="{2BAD9366-1918-488C-866C-73797507D0E3}" type="presParOf" srcId="{EFCD6AD2-E9FC-4196-912C-4A37BC3E6A4F}" destId="{317FA069-E3EE-42BE-941F-3385F45994CA}" srcOrd="0" destOrd="0" presId="urn:microsoft.com/office/officeart/2005/8/layout/list1"/>
    <dgm:cxn modelId="{4A838201-37C2-40E6-B4D8-BA0C6756007E}" type="presParOf" srcId="{EFCD6AD2-E9FC-4196-912C-4A37BC3E6A4F}" destId="{C3FB5E77-A622-4661-B0D6-6FEEA709BCD8}" srcOrd="1" destOrd="0" presId="urn:microsoft.com/office/officeart/2005/8/layout/list1"/>
    <dgm:cxn modelId="{67F9C695-AC4E-4FC2-BA1F-6CA57D0A4791}" type="presParOf" srcId="{683C947E-3503-45CF-91B5-23452C302412}" destId="{D8B92F41-B514-46FA-B90B-BC8BF26442FC}" srcOrd="1" destOrd="0" presId="urn:microsoft.com/office/officeart/2005/8/layout/list1"/>
    <dgm:cxn modelId="{2AF3A044-9BD6-41DF-A8E3-E0F631C59A7B}" type="presParOf" srcId="{683C947E-3503-45CF-91B5-23452C302412}" destId="{DBFA1B52-1A7B-413F-BC10-DC48C465DF7D}" srcOrd="2" destOrd="0" presId="urn:microsoft.com/office/officeart/2005/8/layout/list1"/>
    <dgm:cxn modelId="{77A5447E-667B-4B11-82BF-285892E48615}" type="presParOf" srcId="{683C947E-3503-45CF-91B5-23452C302412}" destId="{9EA09AC0-E816-4738-B9BD-6B0BB1A3D920}" srcOrd="3" destOrd="0" presId="urn:microsoft.com/office/officeart/2005/8/layout/list1"/>
    <dgm:cxn modelId="{522D3939-5145-443B-BF22-2ACD0C133A42}" type="presParOf" srcId="{683C947E-3503-45CF-91B5-23452C302412}" destId="{892C9435-466F-4965-8A9B-99A532143BBA}" srcOrd="4" destOrd="0" presId="urn:microsoft.com/office/officeart/2005/8/layout/list1"/>
    <dgm:cxn modelId="{81F2B5D6-FC0A-415D-B4D4-445E5B07C294}" type="presParOf" srcId="{892C9435-466F-4965-8A9B-99A532143BBA}" destId="{0AD1C3EE-44C6-40DA-8476-FE857852B003}" srcOrd="0" destOrd="0" presId="urn:microsoft.com/office/officeart/2005/8/layout/list1"/>
    <dgm:cxn modelId="{88A1D957-4547-4BF0-B208-7B50ED943009}" type="presParOf" srcId="{892C9435-466F-4965-8A9B-99A532143BBA}" destId="{010A4C98-5CBD-49E9-A2A9-BBC0DD5AA24A}" srcOrd="1" destOrd="0" presId="urn:microsoft.com/office/officeart/2005/8/layout/list1"/>
    <dgm:cxn modelId="{98114FC1-AA2F-4904-B9B4-354DC5098514}" type="presParOf" srcId="{683C947E-3503-45CF-91B5-23452C302412}" destId="{826D7884-32DD-469B-BA9F-572DDF4C6235}" srcOrd="5" destOrd="0" presId="urn:microsoft.com/office/officeart/2005/8/layout/list1"/>
    <dgm:cxn modelId="{175FECA3-E309-41A4-B1C5-F14CC02C5C2A}" type="presParOf" srcId="{683C947E-3503-45CF-91B5-23452C302412}" destId="{E7F412DE-39EF-4238-BBB1-7A2343644F22}" srcOrd="6" destOrd="0" presId="urn:microsoft.com/office/officeart/2005/8/layout/list1"/>
    <dgm:cxn modelId="{57435394-1C51-4792-A901-C71068E4EF19}" type="presParOf" srcId="{683C947E-3503-45CF-91B5-23452C302412}" destId="{63636516-CC7F-47FA-8179-FC954F0F0857}" srcOrd="7" destOrd="0" presId="urn:microsoft.com/office/officeart/2005/8/layout/list1"/>
    <dgm:cxn modelId="{D6C335F1-B7CB-4AA4-AD62-AD30180DCE70}" type="presParOf" srcId="{683C947E-3503-45CF-91B5-23452C302412}" destId="{CA3128E2-CD82-4003-B569-516A0EA060FA}" srcOrd="8" destOrd="0" presId="urn:microsoft.com/office/officeart/2005/8/layout/list1"/>
    <dgm:cxn modelId="{1CBC599E-07DD-46ED-8409-554E7CEEEB78}" type="presParOf" srcId="{CA3128E2-CD82-4003-B569-516A0EA060FA}" destId="{DB9229BB-1B55-487E-B7FF-EEB6082D564B}" srcOrd="0" destOrd="0" presId="urn:microsoft.com/office/officeart/2005/8/layout/list1"/>
    <dgm:cxn modelId="{301FDB2D-A509-49C4-8F1F-73FD16EF38BB}" type="presParOf" srcId="{CA3128E2-CD82-4003-B569-516A0EA060FA}" destId="{12D17559-FAF0-4C22-9672-6416D1040A63}" srcOrd="1" destOrd="0" presId="urn:microsoft.com/office/officeart/2005/8/layout/list1"/>
    <dgm:cxn modelId="{ED974A10-E4A0-49A6-838C-645F2261D98D}" type="presParOf" srcId="{683C947E-3503-45CF-91B5-23452C302412}" destId="{16F97A4C-FDF3-4096-B52B-4E6D761E3267}" srcOrd="9" destOrd="0" presId="urn:microsoft.com/office/officeart/2005/8/layout/list1"/>
    <dgm:cxn modelId="{718894F7-D425-42CD-B333-9B058F0D66A4}" type="presParOf" srcId="{683C947E-3503-45CF-91B5-23452C302412}" destId="{BF43F0EA-D1EA-4182-8FA3-74BDE26B8A87}" srcOrd="10" destOrd="0" presId="urn:microsoft.com/office/officeart/2005/8/layout/list1"/>
    <dgm:cxn modelId="{68312FC6-9B36-4B41-A652-B8C1C04E4542}" type="presParOf" srcId="{683C947E-3503-45CF-91B5-23452C302412}" destId="{DA609DB7-98D2-4B3F-B7F3-D1641593895F}" srcOrd="11" destOrd="0" presId="urn:microsoft.com/office/officeart/2005/8/layout/list1"/>
    <dgm:cxn modelId="{CD1B4BB2-64A6-4688-A2CD-8FCC9B766F9E}" type="presParOf" srcId="{683C947E-3503-45CF-91B5-23452C302412}" destId="{2B3DE76A-A102-4982-8BF8-F68D431CC180}" srcOrd="12" destOrd="0" presId="urn:microsoft.com/office/officeart/2005/8/layout/list1"/>
    <dgm:cxn modelId="{B73A69A2-F5AB-4D1A-AA22-48D26B0FA69C}" type="presParOf" srcId="{2B3DE76A-A102-4982-8BF8-F68D431CC180}" destId="{DB6E280C-06C5-4DBC-AA53-A4019A59849C}" srcOrd="0" destOrd="0" presId="urn:microsoft.com/office/officeart/2005/8/layout/list1"/>
    <dgm:cxn modelId="{8DEF6F48-D8FA-4DF6-A729-C6C6955F6424}" type="presParOf" srcId="{2B3DE76A-A102-4982-8BF8-F68D431CC180}" destId="{9F6D1E16-1AB7-45D9-9B3C-B1FCDD1CFE32}" srcOrd="1" destOrd="0" presId="urn:microsoft.com/office/officeart/2005/8/layout/list1"/>
    <dgm:cxn modelId="{FD21F096-25C5-4D18-B3ED-D7B6A07D6693}" type="presParOf" srcId="{683C947E-3503-45CF-91B5-23452C302412}" destId="{F05C994F-22C9-4F9D-A345-E6162480CC61}" srcOrd="13" destOrd="0" presId="urn:microsoft.com/office/officeart/2005/8/layout/list1"/>
    <dgm:cxn modelId="{9B580DAE-1EE1-46E8-99F3-6AE3B4EF2D48}" type="presParOf" srcId="{683C947E-3503-45CF-91B5-23452C302412}" destId="{45E3F371-252F-43A8-8869-0A0E6540D330}" srcOrd="14" destOrd="0" presId="urn:microsoft.com/office/officeart/2005/8/layout/list1"/>
    <dgm:cxn modelId="{22FE5079-6BD3-45EF-B9CD-294B3C87E3CE}" type="presParOf" srcId="{683C947E-3503-45CF-91B5-23452C302412}" destId="{D38DBD86-A1FC-4CB1-8DBE-7EBC7C03DFD0}" srcOrd="15" destOrd="0" presId="urn:microsoft.com/office/officeart/2005/8/layout/list1"/>
    <dgm:cxn modelId="{63532EE9-C72A-46E8-A3ED-16F7E179F393}" type="presParOf" srcId="{683C947E-3503-45CF-91B5-23452C302412}" destId="{33AD9FA4-385D-4C37-846C-17B30F9B51EE}" srcOrd="16" destOrd="0" presId="urn:microsoft.com/office/officeart/2005/8/layout/list1"/>
    <dgm:cxn modelId="{C8B26014-634D-4443-A6E0-A1E0FFAD52A1}" type="presParOf" srcId="{33AD9FA4-385D-4C37-846C-17B30F9B51EE}" destId="{ADC03C64-24F6-4D67-83E7-24F1C49E8AB5}" srcOrd="0" destOrd="0" presId="urn:microsoft.com/office/officeart/2005/8/layout/list1"/>
    <dgm:cxn modelId="{64879BA7-276D-43B2-8286-C9202A1D6147}" type="presParOf" srcId="{33AD9FA4-385D-4C37-846C-17B30F9B51EE}" destId="{6ADD4D14-91D6-4CBC-9E39-CF584F076EC0}" srcOrd="1" destOrd="0" presId="urn:microsoft.com/office/officeart/2005/8/layout/list1"/>
    <dgm:cxn modelId="{52D3C2BB-3335-4937-B938-B2C70C4E8CB2}" type="presParOf" srcId="{683C947E-3503-45CF-91B5-23452C302412}" destId="{996A7548-970C-4F24-BD59-BEB470C859BF}" srcOrd="17" destOrd="0" presId="urn:microsoft.com/office/officeart/2005/8/layout/list1"/>
    <dgm:cxn modelId="{5C599842-0EB1-4ABA-93BD-BAA054569BB1}" type="presParOf" srcId="{683C947E-3503-45CF-91B5-23452C302412}" destId="{DF79483F-1A19-4B9F-8320-AA94BF66DD67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FA1B52-1A7B-413F-BC10-DC48C465DF7D}">
      <dsp:nvSpPr>
        <dsp:cNvPr id="0" name=""/>
        <dsp:cNvSpPr/>
      </dsp:nvSpPr>
      <dsp:spPr>
        <a:xfrm>
          <a:off x="0" y="326573"/>
          <a:ext cx="7692999" cy="850500"/>
        </a:xfrm>
        <a:prstGeom prst="rect">
          <a:avLst/>
        </a:prstGeom>
        <a:noFill/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97062" tIns="416560" rIns="597062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de-DE" sz="2000" kern="1200">
              <a:solidFill>
                <a:schemeClr val="tx1"/>
              </a:solidFill>
            </a:rPr>
            <a:t>Exchange Online</a:t>
          </a:r>
          <a:endParaRPr lang="de-DE" sz="2000" kern="1200" dirty="0">
            <a:solidFill>
              <a:schemeClr val="tx1"/>
            </a:solidFill>
          </a:endParaRPr>
        </a:p>
      </dsp:txBody>
      <dsp:txXfrm>
        <a:off x="0" y="326573"/>
        <a:ext cx="7692999" cy="850500"/>
      </dsp:txXfrm>
    </dsp:sp>
    <dsp:sp modelId="{C3FB5E77-A622-4661-B0D6-6FEEA709BCD8}">
      <dsp:nvSpPr>
        <dsp:cNvPr id="0" name=""/>
        <dsp:cNvSpPr/>
      </dsp:nvSpPr>
      <dsp:spPr>
        <a:xfrm>
          <a:off x="384649" y="31373"/>
          <a:ext cx="5385099" cy="590400"/>
        </a:xfrm>
        <a:prstGeom prst="roundRect">
          <a:avLst/>
        </a:prstGeom>
        <a:solidFill>
          <a:schemeClr val="accent6"/>
        </a:solidFill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544" tIns="0" rIns="203544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/>
            <a:t>Standardisiert</a:t>
          </a:r>
        </a:p>
      </dsp:txBody>
      <dsp:txXfrm>
        <a:off x="413470" y="60194"/>
        <a:ext cx="5327457" cy="532758"/>
      </dsp:txXfrm>
    </dsp:sp>
    <dsp:sp modelId="{E7F412DE-39EF-4238-BBB1-7A2343644F22}">
      <dsp:nvSpPr>
        <dsp:cNvPr id="0" name=""/>
        <dsp:cNvSpPr/>
      </dsp:nvSpPr>
      <dsp:spPr>
        <a:xfrm>
          <a:off x="0" y="1580273"/>
          <a:ext cx="7692999" cy="850500"/>
        </a:xfrm>
        <a:prstGeom prst="rect">
          <a:avLst/>
        </a:prstGeom>
        <a:noFill/>
        <a:ln w="1270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97062" tIns="416560" rIns="597062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de-DE" sz="2000" kern="1200" dirty="0">
              <a:solidFill>
                <a:schemeClr val="tx1"/>
              </a:solidFill>
            </a:rPr>
            <a:t>Exchange On-Premises </a:t>
          </a:r>
          <a:r>
            <a:rPr lang="de-DE" sz="2000" i="1" kern="1200" dirty="0">
              <a:solidFill>
                <a:schemeClr val="tx1"/>
              </a:solidFill>
            </a:rPr>
            <a:t>Preferred Architecture Design</a:t>
          </a:r>
        </a:p>
      </dsp:txBody>
      <dsp:txXfrm>
        <a:off x="0" y="1580273"/>
        <a:ext cx="7692999" cy="850500"/>
      </dsp:txXfrm>
    </dsp:sp>
    <dsp:sp modelId="{010A4C98-5CBD-49E9-A2A9-BBC0DD5AA24A}">
      <dsp:nvSpPr>
        <dsp:cNvPr id="0" name=""/>
        <dsp:cNvSpPr/>
      </dsp:nvSpPr>
      <dsp:spPr>
        <a:xfrm>
          <a:off x="384649" y="1285073"/>
          <a:ext cx="5385099" cy="590400"/>
        </a:xfrm>
        <a:prstGeom prst="roundRect">
          <a:avLst/>
        </a:prstGeom>
        <a:solidFill>
          <a:schemeClr val="accent5"/>
        </a:solidFill>
        <a:ln w="1270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544" tIns="0" rIns="203544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/>
            <a:t>Strukturiert</a:t>
          </a:r>
        </a:p>
      </dsp:txBody>
      <dsp:txXfrm>
        <a:off x="413470" y="1313894"/>
        <a:ext cx="5327457" cy="532758"/>
      </dsp:txXfrm>
    </dsp:sp>
    <dsp:sp modelId="{BF43F0EA-D1EA-4182-8FA3-74BDE26B8A87}">
      <dsp:nvSpPr>
        <dsp:cNvPr id="0" name=""/>
        <dsp:cNvSpPr/>
      </dsp:nvSpPr>
      <dsp:spPr>
        <a:xfrm>
          <a:off x="0" y="2833973"/>
          <a:ext cx="7692999" cy="850500"/>
        </a:xfrm>
        <a:prstGeom prst="rect">
          <a:avLst/>
        </a:prstGeom>
        <a:noFill/>
        <a:ln w="12700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97062" tIns="416560" rIns="597062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de-DE" sz="2000" kern="1200" dirty="0">
              <a:solidFill>
                <a:schemeClr val="tx1"/>
              </a:solidFill>
            </a:rPr>
            <a:t>Exchange On-Premises </a:t>
          </a:r>
          <a:r>
            <a:rPr lang="de-DE" sz="2000" i="1" kern="1200" dirty="0">
              <a:solidFill>
                <a:schemeClr val="tx1"/>
              </a:solidFill>
            </a:rPr>
            <a:t>Best Practices Design</a:t>
          </a:r>
        </a:p>
      </dsp:txBody>
      <dsp:txXfrm>
        <a:off x="0" y="2833973"/>
        <a:ext cx="7692999" cy="850500"/>
      </dsp:txXfrm>
    </dsp:sp>
    <dsp:sp modelId="{12D17559-FAF0-4C22-9672-6416D1040A63}">
      <dsp:nvSpPr>
        <dsp:cNvPr id="0" name=""/>
        <dsp:cNvSpPr/>
      </dsp:nvSpPr>
      <dsp:spPr>
        <a:xfrm>
          <a:off x="384649" y="2538773"/>
          <a:ext cx="5385099" cy="590400"/>
        </a:xfrm>
        <a:prstGeom prst="roundRect">
          <a:avLst/>
        </a:prstGeom>
        <a:solidFill>
          <a:schemeClr val="bg2"/>
        </a:solidFill>
        <a:ln w="12700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544" tIns="0" rIns="203544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/>
            <a:t>Empfohlen</a:t>
          </a:r>
        </a:p>
      </dsp:txBody>
      <dsp:txXfrm>
        <a:off x="413470" y="2567594"/>
        <a:ext cx="5327457" cy="532758"/>
      </dsp:txXfrm>
    </dsp:sp>
    <dsp:sp modelId="{45E3F371-252F-43A8-8869-0A0E6540D330}">
      <dsp:nvSpPr>
        <dsp:cNvPr id="0" name=""/>
        <dsp:cNvSpPr/>
      </dsp:nvSpPr>
      <dsp:spPr>
        <a:xfrm>
          <a:off x="0" y="4087673"/>
          <a:ext cx="7692999" cy="850500"/>
        </a:xfrm>
        <a:prstGeom prst="rect">
          <a:avLst/>
        </a:prstGeom>
        <a:noFill/>
        <a:ln w="1270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97062" tIns="416560" rIns="597062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de-DE" sz="2000" kern="1200" dirty="0">
              <a:solidFill>
                <a:schemeClr val="tx1"/>
              </a:solidFill>
            </a:rPr>
            <a:t>Exchange On-Premises </a:t>
          </a:r>
          <a:r>
            <a:rPr lang="de-DE" sz="2000" i="1" kern="1200" dirty="0">
              <a:solidFill>
                <a:schemeClr val="tx1"/>
              </a:solidFill>
            </a:rPr>
            <a:t>angepasstes Design</a:t>
          </a:r>
        </a:p>
      </dsp:txBody>
      <dsp:txXfrm>
        <a:off x="0" y="4087673"/>
        <a:ext cx="7692999" cy="850500"/>
      </dsp:txXfrm>
    </dsp:sp>
    <dsp:sp modelId="{9F6D1E16-1AB7-45D9-9B3C-B1FCDD1CFE32}">
      <dsp:nvSpPr>
        <dsp:cNvPr id="0" name=""/>
        <dsp:cNvSpPr/>
      </dsp:nvSpPr>
      <dsp:spPr>
        <a:xfrm>
          <a:off x="384649" y="3792473"/>
          <a:ext cx="5385099" cy="590400"/>
        </a:xfrm>
        <a:prstGeom prst="roundRect">
          <a:avLst/>
        </a:prstGeom>
        <a:solidFill>
          <a:schemeClr val="accent2"/>
        </a:solidFill>
        <a:ln w="1270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544" tIns="0" rIns="203544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/>
            <a:t>Unterstützt</a:t>
          </a:r>
        </a:p>
      </dsp:txBody>
      <dsp:txXfrm>
        <a:off x="413470" y="3821294"/>
        <a:ext cx="5327457" cy="532758"/>
      </dsp:txXfrm>
    </dsp:sp>
    <dsp:sp modelId="{DF79483F-1A19-4B9F-8320-AA94BF66DD67}">
      <dsp:nvSpPr>
        <dsp:cNvPr id="0" name=""/>
        <dsp:cNvSpPr/>
      </dsp:nvSpPr>
      <dsp:spPr>
        <a:xfrm>
          <a:off x="0" y="5341373"/>
          <a:ext cx="7692999" cy="850500"/>
        </a:xfrm>
        <a:prstGeom prst="rect">
          <a:avLst/>
        </a:prstGeom>
        <a:noFill/>
        <a:ln w="12700" cap="flat" cmpd="sng" algn="ctr">
          <a:solidFill>
            <a:srgbClr val="C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97062" tIns="416560" rIns="597062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de-DE" sz="2000" kern="1200" dirty="0">
              <a:solidFill>
                <a:schemeClr val="tx1"/>
              </a:solidFill>
            </a:rPr>
            <a:t>Exchange On-Premises </a:t>
          </a:r>
          <a:r>
            <a:rPr lang="de-DE" sz="2000" b="0" i="1" kern="1200" dirty="0">
              <a:solidFill>
                <a:schemeClr val="tx1"/>
              </a:solidFill>
            </a:rPr>
            <a:t>nicht unterstütztes Design</a:t>
          </a:r>
        </a:p>
      </dsp:txBody>
      <dsp:txXfrm>
        <a:off x="0" y="5341373"/>
        <a:ext cx="7692999" cy="850500"/>
      </dsp:txXfrm>
    </dsp:sp>
    <dsp:sp modelId="{6ADD4D14-91D6-4CBC-9E39-CF584F076EC0}">
      <dsp:nvSpPr>
        <dsp:cNvPr id="0" name=""/>
        <dsp:cNvSpPr/>
      </dsp:nvSpPr>
      <dsp:spPr>
        <a:xfrm>
          <a:off x="384649" y="5046173"/>
          <a:ext cx="5385099" cy="590400"/>
        </a:xfrm>
        <a:prstGeom prst="roundRect">
          <a:avLst/>
        </a:prstGeom>
        <a:solidFill>
          <a:srgbClr val="C00000"/>
        </a:solidFill>
        <a:ln w="12700" cap="flat" cmpd="sng" algn="ctr">
          <a:solidFill>
            <a:srgbClr val="FF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544" tIns="0" rIns="203544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/>
            <a:t>Funktioniert</a:t>
          </a:r>
        </a:p>
      </dsp:txBody>
      <dsp:txXfrm>
        <a:off x="413470" y="5074994"/>
        <a:ext cx="5327457" cy="5327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A0481-4FA6-4961-BCB0-25EF86726492}" type="datetimeFigureOut">
              <a:rPr lang="de-DE" smtClean="0"/>
              <a:t>14.11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F3461-6973-4A70-B038-7E08B44168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5606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BF356-DBFC-476B-AC58-6229004DAC1B}" type="datetimeFigureOut">
              <a:rPr lang="de-DE" smtClean="0"/>
              <a:t>14.11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DF68A7-DF42-4E0B-A2A7-C05F6B6534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8333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support.microsoft.com/de-de/lifecycle/search/730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54834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846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25168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58406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/>
              </a:rPr>
              <a:t>https://support.microsoft.com/de-de/lifecycle/search/730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71467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72093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8" name="Rechteck 7"/>
          <p:cNvSpPr/>
          <p:nvPr userDrawn="1"/>
        </p:nvSpPr>
        <p:spPr>
          <a:xfrm>
            <a:off x="541176" y="6316824"/>
            <a:ext cx="11523306" cy="29858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253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10515600" cy="4656073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37803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84635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4812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24077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439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2104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-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39611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- weiß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1628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6721" y="233267"/>
            <a:ext cx="1334278" cy="1334278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3506" cy="613283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838200" y="6298164"/>
            <a:ext cx="27820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chemeClr val="accent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xchange User Group Berlin</a:t>
            </a:r>
            <a:endParaRPr lang="en-US" sz="1600" dirty="0">
              <a:solidFill>
                <a:schemeClr val="accent5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9414587" y="6301271"/>
            <a:ext cx="1953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82353EE-51AA-4714-8F87-33063FDE88AD}" type="slidenum">
              <a:rPr lang="de-DE" sz="1600" smtClean="0">
                <a:solidFill>
                  <a:schemeClr val="accent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‹Nr.›</a:t>
            </a:fld>
            <a:endParaRPr lang="en-US" sz="1600" dirty="0">
              <a:solidFill>
                <a:schemeClr val="accent5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89940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3" r:id="rId3"/>
    <p:sldLayoutId id="2147483699" r:id="rId4"/>
    <p:sldLayoutId id="2147483700" r:id="rId5"/>
    <p:sldLayoutId id="2147483701" r:id="rId6"/>
    <p:sldLayoutId id="214748370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chemeClr val="accent5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4448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1" r:id="rId1"/>
    <p:sldLayoutId id="214748371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chemeClr val="accent5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go.granikos.eu/ExchangeLifeCycle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go.granikos.eu/ExchangeBuildNumbers" TargetMode="Externa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hyperlink" Target="http://blog.exchange-doktor.de/" TargetMode="External"/><Relationship Id="rId7" Type="http://schemas.openxmlformats.org/officeDocument/2006/relationships/image" Target="../media/image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.png"/><Relationship Id="rId5" Type="http://schemas.microsoft.com/office/2007/relationships/hdphoto" Target="../media/hdphoto1.wdp"/><Relationship Id="rId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thomas.stensitzki@granikos.eu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jp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Exchange User Group Berli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r>
              <a:rPr lang="de-DE" dirty="0"/>
              <a:t>14. November 2019</a:t>
            </a:r>
          </a:p>
        </p:txBody>
      </p:sp>
    </p:spTree>
    <p:extLst>
      <p:ext uri="{BB962C8B-B14F-4D97-AF65-F5344CB8AC3E}">
        <p14:creationId xmlns:p14="http://schemas.microsoft.com/office/powerpoint/2010/main" val="35330496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790A5D-A80F-415F-94A7-2F456C0C50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igration von Exchange Server 2010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97477ED-A03B-4421-89A8-EB46EC9472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6"/>
            <a:ext cx="10515600" cy="1883346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Welche Exchange Server Zielplattform strebe ich an?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Exchange Server 2016?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Exchange Server 2019?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291C01-F6FE-4BD3-BE3C-CBFAE622D2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Meine Optionen </a:t>
            </a:r>
          </a:p>
        </p:txBody>
      </p:sp>
      <p:graphicFrame>
        <p:nvGraphicFramePr>
          <p:cNvPr id="5" name="Tabelle 5">
            <a:extLst>
              <a:ext uri="{FF2B5EF4-FFF2-40B4-BE49-F238E27FC236}">
                <a16:creationId xmlns:a16="http://schemas.microsoft.com/office/drawing/2014/main" id="{0CEB356C-C237-4512-9F81-80D3C5B264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214518"/>
              </p:ext>
            </p:extLst>
          </p:nvPr>
        </p:nvGraphicFramePr>
        <p:xfrm>
          <a:off x="703942" y="3708972"/>
          <a:ext cx="10649859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49953">
                  <a:extLst>
                    <a:ext uri="{9D8B030D-6E8A-4147-A177-3AD203B41FA5}">
                      <a16:colId xmlns:a16="http://schemas.microsoft.com/office/drawing/2014/main" val="3212891723"/>
                    </a:ext>
                  </a:extLst>
                </a:gridCol>
                <a:gridCol w="3549953">
                  <a:extLst>
                    <a:ext uri="{9D8B030D-6E8A-4147-A177-3AD203B41FA5}">
                      <a16:colId xmlns:a16="http://schemas.microsoft.com/office/drawing/2014/main" val="153436797"/>
                    </a:ext>
                  </a:extLst>
                </a:gridCol>
                <a:gridCol w="3549953">
                  <a:extLst>
                    <a:ext uri="{9D8B030D-6E8A-4147-A177-3AD203B41FA5}">
                      <a16:colId xmlns:a16="http://schemas.microsoft.com/office/drawing/2014/main" val="14701082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Produkt Ver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nde Standardsup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nde Erweiterter Suppo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77076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Exchange Server 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3. Oktober 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4. Oktober 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47247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Exchange Server 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9. Januar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4. Oktober 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476341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B11AD2DB-06B4-485D-A53F-9D608C274FD5}"/>
              </a:ext>
            </a:extLst>
          </p:cNvPr>
          <p:cNvSpPr txBox="1"/>
          <p:nvPr/>
        </p:nvSpPr>
        <p:spPr>
          <a:xfrm>
            <a:off x="4263571" y="6107529"/>
            <a:ext cx="53920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hlinkClick r:id="rId3"/>
              </a:rPr>
              <a:t>https://go.granikos.eu/ExchangeLifeCycle</a:t>
            </a:r>
            <a:r>
              <a:rPr lang="de-DE" sz="1400" dirty="0"/>
              <a:t> </a:t>
            </a:r>
          </a:p>
          <a:p>
            <a:r>
              <a:rPr lang="de-DE" sz="1400" dirty="0">
                <a:hlinkClick r:id="rId4"/>
              </a:rPr>
              <a:t>https://go.granikos.eu/ExchangeBuildNumbers</a:t>
            </a:r>
            <a:r>
              <a:rPr lang="de-DE" sz="1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414203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2C54D3-EEDB-4C58-A6C0-172B7373C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igration von Exchange Server 2010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46837F5-A0F6-4309-9948-A01CACBBEB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Exchange Server 2016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Windows Server 2012, 2012R2 und 2016 Desktop Experience</a:t>
            </a:r>
          </a:p>
          <a:p>
            <a:pPr>
              <a:buFont typeface="Wingdings" panose="05000000000000000000" pitchFamily="2" charset="2"/>
              <a:buChar char="à"/>
            </a:pP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e-DE" dirty="0"/>
              <a:t>Exchange Server 2019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Windows Server 2019 Core (bevorzugt)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Keine direkte Migration von Exchange Server 2010 möglich</a:t>
            </a:r>
          </a:p>
          <a:p>
            <a:pPr>
              <a:buFont typeface="Wingdings" panose="05000000000000000000" pitchFamily="2" charset="2"/>
              <a:buChar char="à"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E57DF87-5EF3-4C37-BE42-12028031E4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Betriebssystemvoraussetzungen</a:t>
            </a:r>
          </a:p>
        </p:txBody>
      </p:sp>
    </p:spTree>
    <p:extLst>
      <p:ext uri="{BB962C8B-B14F-4D97-AF65-F5344CB8AC3E}">
        <p14:creationId xmlns:p14="http://schemas.microsoft.com/office/powerpoint/2010/main" val="327011905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m 4">
            <a:extLst>
              <a:ext uri="{FF2B5EF4-FFF2-40B4-BE49-F238E27FC236}">
                <a16:creationId xmlns:a16="http://schemas.microsoft.com/office/drawing/2014/main" id="{CB7F2F1E-8491-49E8-A797-E5FAE0608DA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7510862"/>
              </p:ext>
            </p:extLst>
          </p:nvPr>
        </p:nvGraphicFramePr>
        <p:xfrm>
          <a:off x="1604682" y="317376"/>
          <a:ext cx="7692999" cy="62232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8A56F10-016A-4A49-8928-CA2397D35C5C}"/>
              </a:ext>
            </a:extLst>
          </p:cNvPr>
          <p:cNvGrpSpPr/>
          <p:nvPr/>
        </p:nvGrpSpPr>
        <p:grpSpPr>
          <a:xfrm>
            <a:off x="9297681" y="371476"/>
            <a:ext cx="2758569" cy="2379407"/>
            <a:chOff x="9297681" y="371476"/>
            <a:chExt cx="2758569" cy="2379407"/>
          </a:xfrm>
        </p:grpSpPr>
        <p:sp>
          <p:nvSpPr>
            <p:cNvPr id="7" name="Right Brace 2">
              <a:extLst>
                <a:ext uri="{FF2B5EF4-FFF2-40B4-BE49-F238E27FC236}">
                  <a16:creationId xmlns:a16="http://schemas.microsoft.com/office/drawing/2014/main" id="{E7D4A152-62BF-4707-B0E2-2ED9F4B4D58E}"/>
                </a:ext>
              </a:extLst>
            </p:cNvPr>
            <p:cNvSpPr/>
            <p:nvPr/>
          </p:nvSpPr>
          <p:spPr>
            <a:xfrm>
              <a:off x="9297681" y="371476"/>
              <a:ext cx="321056" cy="2379407"/>
            </a:xfrm>
            <a:prstGeom prst="rightBrace">
              <a:avLst>
                <a:gd name="adj1" fmla="val 8333"/>
                <a:gd name="adj2" fmla="val 54521"/>
              </a:avLst>
            </a:prstGeom>
            <a:ln w="28575">
              <a:solidFill>
                <a:srgbClr val="107C1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Sprechblase: rechteckig mit abgerundeten Ecken 7">
              <a:extLst>
                <a:ext uri="{FF2B5EF4-FFF2-40B4-BE49-F238E27FC236}">
                  <a16:creationId xmlns:a16="http://schemas.microsoft.com/office/drawing/2014/main" id="{C0C22EC2-F497-46D0-88E2-DB70CC394D67}"/>
                </a:ext>
              </a:extLst>
            </p:cNvPr>
            <p:cNvSpPr/>
            <p:nvPr/>
          </p:nvSpPr>
          <p:spPr>
            <a:xfrm>
              <a:off x="9850932" y="470046"/>
              <a:ext cx="2205318" cy="814508"/>
            </a:xfrm>
            <a:prstGeom prst="wedgeRoundRectCallout">
              <a:avLst>
                <a:gd name="adj1" fmla="val -55198"/>
                <a:gd name="adj2" fmla="val 97407"/>
                <a:gd name="adj3" fmla="val 16667"/>
              </a:avLst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Optimaler Betrieb</a:t>
              </a:r>
            </a:p>
          </p:txBody>
        </p:sp>
      </p:grpSp>
      <p:sp>
        <p:nvSpPr>
          <p:cNvPr id="9" name="Sprechblase: rechteckig mit abgerundeten Ecken 8">
            <a:extLst>
              <a:ext uri="{FF2B5EF4-FFF2-40B4-BE49-F238E27FC236}">
                <a16:creationId xmlns:a16="http://schemas.microsoft.com/office/drawing/2014/main" id="{6D23342B-E4E3-4A82-9C16-8197A2F7A07E}"/>
              </a:ext>
            </a:extLst>
          </p:cNvPr>
          <p:cNvSpPr/>
          <p:nvPr/>
        </p:nvSpPr>
        <p:spPr>
          <a:xfrm>
            <a:off x="9850932" y="2674083"/>
            <a:ext cx="2205318" cy="814508"/>
          </a:xfrm>
          <a:prstGeom prst="wedgeRoundRectCallout">
            <a:avLst>
              <a:gd name="adj1" fmla="val -76541"/>
              <a:gd name="adj2" fmla="val 69105"/>
              <a:gd name="adj3" fmla="val 16667"/>
            </a:avLst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uf dem </a:t>
            </a:r>
            <a:br>
              <a:rPr lang="de-DE" dirty="0"/>
            </a:br>
            <a:r>
              <a:rPr lang="de-DE" dirty="0"/>
              <a:t>richtigen Weg</a:t>
            </a:r>
          </a:p>
        </p:txBody>
      </p:sp>
      <p:sp>
        <p:nvSpPr>
          <p:cNvPr id="10" name="Sprechblase: rechteckig mit abgerundeten Ecken 9">
            <a:extLst>
              <a:ext uri="{FF2B5EF4-FFF2-40B4-BE49-F238E27FC236}">
                <a16:creationId xmlns:a16="http://schemas.microsoft.com/office/drawing/2014/main" id="{8F0E3211-7DAD-4539-884E-F35DF647D92D}"/>
              </a:ext>
            </a:extLst>
          </p:cNvPr>
          <p:cNvSpPr/>
          <p:nvPr/>
        </p:nvSpPr>
        <p:spPr>
          <a:xfrm>
            <a:off x="9850932" y="3902248"/>
            <a:ext cx="2205318" cy="814508"/>
          </a:xfrm>
          <a:prstGeom prst="wedgeRoundRectCallout">
            <a:avLst>
              <a:gd name="adj1" fmla="val -76415"/>
              <a:gd name="adj2" fmla="val 69105"/>
              <a:gd name="adj3" fmla="val 16667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echnische Mindestanforderung</a:t>
            </a:r>
          </a:p>
        </p:txBody>
      </p:sp>
      <p:pic>
        <p:nvPicPr>
          <p:cNvPr id="11" name="Grafik 10" descr="Verbotsschild">
            <a:extLst>
              <a:ext uri="{FF2B5EF4-FFF2-40B4-BE49-F238E27FC236}">
                <a16:creationId xmlns:a16="http://schemas.microsoft.com/office/drawing/2014/main" id="{6D3CE15C-9C6F-4C32-AF12-EBD9BB1DA1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935934" y="5372648"/>
            <a:ext cx="1361747" cy="1361747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D1139574-F5A7-41C8-87B5-3A767316CF9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12941" y="5130413"/>
            <a:ext cx="1688454" cy="1688454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3F358211-4282-42DA-87F2-D40B8014D029}"/>
              </a:ext>
            </a:extLst>
          </p:cNvPr>
          <p:cNvSpPr txBox="1">
            <a:spLocks/>
          </p:cNvSpPr>
          <p:nvPr/>
        </p:nvSpPr>
        <p:spPr>
          <a:xfrm rot="16200000">
            <a:off x="-2766217" y="2766220"/>
            <a:ext cx="6858000" cy="1325563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0A03A00-96F4-4415-8A80-E6C31B62B1D3}"/>
              </a:ext>
            </a:extLst>
          </p:cNvPr>
          <p:cNvSpPr txBox="1">
            <a:spLocks/>
          </p:cNvSpPr>
          <p:nvPr/>
        </p:nvSpPr>
        <p:spPr>
          <a:xfrm rot="16200000">
            <a:off x="-2626658" y="2626659"/>
            <a:ext cx="6858000" cy="1604681"/>
          </a:xfrm>
          <a:prstGeom prst="rect">
            <a:avLst/>
          </a:prstGeom>
        </p:spPr>
        <p:txBody>
          <a:bodyPr vert="horz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4000" b="1" dirty="0">
                <a:latin typeface="+mn-lt"/>
              </a:rPr>
              <a:t>Preferred Architecture</a:t>
            </a:r>
            <a:br>
              <a:rPr lang="de-DE" sz="4000" b="1" dirty="0">
                <a:latin typeface="+mn-lt"/>
              </a:rPr>
            </a:br>
            <a:r>
              <a:rPr lang="de-DE" sz="4000" b="1" dirty="0">
                <a:latin typeface="+mn-lt"/>
              </a:rPr>
              <a:t>Implementierung</a:t>
            </a:r>
          </a:p>
        </p:txBody>
      </p:sp>
    </p:spTree>
    <p:extLst>
      <p:ext uri="{BB962C8B-B14F-4D97-AF65-F5344CB8AC3E}">
        <p14:creationId xmlns:p14="http://schemas.microsoft.com/office/powerpoint/2010/main" val="391653637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3FB5E77-A622-4661-B0D6-6FEEA709BCD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graphicEl>
                                              <a:dgm id="{C3FB5E77-A622-4661-B0D6-6FEEA709BCD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BFA1B52-1A7B-413F-BC10-DC48C465DF7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graphicEl>
                                              <a:dgm id="{DBFA1B52-1A7B-413F-BC10-DC48C465DF7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10A4C98-5CBD-49E9-A2A9-BBC0DD5AA24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>
                                            <p:graphicEl>
                                              <a:dgm id="{010A4C98-5CBD-49E9-A2A9-BBC0DD5AA24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7F412DE-39EF-4238-BBB1-7A2343644F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>
                                            <p:graphicEl>
                                              <a:dgm id="{E7F412DE-39EF-4238-BBB1-7A2343644F2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2D17559-FAF0-4C22-9672-6416D1040A6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5">
                                            <p:graphicEl>
                                              <a:dgm id="{12D17559-FAF0-4C22-9672-6416D1040A6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BF43F0EA-D1EA-4182-8FA3-74BDE26B8A8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5">
                                            <p:graphicEl>
                                              <a:dgm id="{BF43F0EA-D1EA-4182-8FA3-74BDE26B8A8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F6D1E16-1AB7-45D9-9B3C-B1FCDD1CFE3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5">
                                            <p:graphicEl>
                                              <a:dgm id="{9F6D1E16-1AB7-45D9-9B3C-B1FCDD1CFE3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5E3F371-252F-43A8-8869-0A0E6540D33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">
                                            <p:graphicEl>
                                              <a:dgm id="{45E3F371-252F-43A8-8869-0A0E6540D33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ADD4D14-91D6-4CBC-9E39-CF584F076E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5">
                                            <p:graphicEl>
                                              <a:dgm id="{6ADD4D14-91D6-4CBC-9E39-CF584F076EC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F79483F-1A19-4B9F-8320-AA94BF66DD6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5">
                                            <p:graphicEl>
                                              <a:dgm id="{DF79483F-1A19-4B9F-8320-AA94BF66DD6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 bld="one"/>
        </p:bldSub>
      </p:bldGraphic>
      <p:bldP spid="9" grpId="0" animBg="1"/>
      <p:bldP spid="1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Q &amp; A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000" b="1" kern="0" dirty="0"/>
              <a:t>Thomas Stensitzki</a:t>
            </a:r>
          </a:p>
          <a:p>
            <a:pPr marL="0" indent="0">
              <a:buNone/>
            </a:pPr>
            <a:r>
              <a:rPr lang="de-DE" sz="2000" kern="0" dirty="0"/>
              <a:t>Enterprise Consultant</a:t>
            </a:r>
            <a:br>
              <a:rPr lang="de-DE" sz="2000" kern="0" dirty="0"/>
            </a:br>
            <a:r>
              <a:rPr lang="de-DE" sz="2000" kern="0" dirty="0"/>
              <a:t>Granikos GmbH &amp; Co. KG</a:t>
            </a: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MVP | MCT | MCSM</a:t>
            </a:r>
          </a:p>
          <a:p>
            <a:pPr marL="0" indent="0">
              <a:buNone/>
            </a:pPr>
            <a:r>
              <a:rPr lang="de-DE" sz="2000" kern="0" dirty="0"/>
              <a:t>@</a:t>
            </a:r>
            <a:r>
              <a:rPr lang="de-DE" sz="2000" kern="0" dirty="0" err="1"/>
              <a:t>stensitzki</a:t>
            </a:r>
            <a:r>
              <a:rPr lang="de-DE" sz="2000" kern="0" dirty="0"/>
              <a:t> </a:t>
            </a:r>
          </a:p>
          <a:p>
            <a:pPr marL="0" indent="0">
              <a:buNone/>
            </a:pPr>
            <a:r>
              <a:rPr lang="de-DE" sz="2000" kern="0" dirty="0">
                <a:hlinkClick r:id="rId3"/>
              </a:rPr>
              <a:t>http://blog.exchange-doktor.de</a:t>
            </a:r>
            <a:r>
              <a:rPr lang="de-DE" sz="2000" kern="0" dirty="0"/>
              <a:t>  </a:t>
            </a:r>
          </a:p>
          <a:p>
            <a:pPr marL="0" indent="0">
              <a:buNone/>
            </a:pPr>
            <a:endParaRPr lang="de-DE" sz="2000" kern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852" y="2056797"/>
            <a:ext cx="3108047" cy="274440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7" name="Grafik 6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537E3E12-FDDE-4E28-A806-6B41B7F3D8A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4556" y="3989770"/>
            <a:ext cx="1726913" cy="696744"/>
          </a:xfrm>
          <a:prstGeom prst="rect">
            <a:avLst/>
          </a:prstGeom>
        </p:spPr>
      </p:pic>
      <p:pic>
        <p:nvPicPr>
          <p:cNvPr id="8" name="Grafik 7" descr="Ein Bild, das blau, weiß, Schild enthält.&#10;&#10;Automatisch generierte Beschreibung">
            <a:extLst>
              <a:ext uri="{FF2B5EF4-FFF2-40B4-BE49-F238E27FC236}">
                <a16:creationId xmlns:a16="http://schemas.microsoft.com/office/drawing/2014/main" id="{A80C8C24-3ADA-4322-B0F2-50CCA426992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1706" y="2855174"/>
            <a:ext cx="1831340" cy="1831340"/>
          </a:xfrm>
          <a:prstGeom prst="rect">
            <a:avLst/>
          </a:prstGeom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724C2ABE-F85C-439F-8D9E-9AFFED56578F}"/>
              </a:ext>
            </a:extLst>
          </p:cNvPr>
          <p:cNvGrpSpPr/>
          <p:nvPr/>
        </p:nvGrpSpPr>
        <p:grpSpPr>
          <a:xfrm>
            <a:off x="0" y="5337110"/>
            <a:ext cx="12192000" cy="1520890"/>
            <a:chOff x="0" y="5337110"/>
            <a:chExt cx="12192000" cy="152089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35918AA5-6F07-4B44-B394-41A89C1E1B39}"/>
                </a:ext>
              </a:extLst>
            </p:cNvPr>
            <p:cNvSpPr/>
            <p:nvPr/>
          </p:nvSpPr>
          <p:spPr>
            <a:xfrm>
              <a:off x="0" y="5337110"/>
              <a:ext cx="12192000" cy="15208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800" b="1" dirty="0"/>
                <a:t>Supportende</a:t>
              </a:r>
            </a:p>
            <a:p>
              <a:pPr algn="ctr"/>
              <a:r>
                <a:rPr lang="de-DE" sz="2800" b="1" i="1" dirty="0"/>
                <a:t>13. Oktober 2020</a:t>
              </a:r>
            </a:p>
          </p:txBody>
        </p:sp>
        <p:pic>
          <p:nvPicPr>
            <p:cNvPr id="12" name="Picture 14" descr="Image result for exchange server 2010 logo">
              <a:extLst>
                <a:ext uri="{FF2B5EF4-FFF2-40B4-BE49-F238E27FC236}">
                  <a16:creationId xmlns:a16="http://schemas.microsoft.com/office/drawing/2014/main" id="{7034294F-F28B-41F4-8FA0-95CFC26A013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897" y="5501269"/>
              <a:ext cx="2895600" cy="13261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85516512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16B391-36DA-4FD3-95E3-C45E98AE47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/>
              <a:t>Sponsor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CDC1E90-4388-4F8B-B1DC-2DC6C03548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3232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5257800" cy="46560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kern="0" dirty="0"/>
              <a:t>Thomas Stensitzki</a:t>
            </a:r>
          </a:p>
          <a:p>
            <a:pPr marL="0" indent="0">
              <a:buNone/>
            </a:pPr>
            <a:r>
              <a:rPr lang="de-DE" sz="2000" kern="0" dirty="0"/>
              <a:t>Enterprise Consultant</a:t>
            </a:r>
            <a:br>
              <a:rPr lang="de-DE" sz="2000" kern="0" dirty="0"/>
            </a:br>
            <a:r>
              <a:rPr lang="de-DE" sz="2000" kern="0" dirty="0"/>
              <a:t>Granikos GmbH &amp; Co. KG</a:t>
            </a: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MVP | MCT | MCSM</a:t>
            </a: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@</a:t>
            </a:r>
            <a:r>
              <a:rPr lang="de-DE" sz="2000" kern="0" dirty="0" err="1"/>
              <a:t>stensitzki</a:t>
            </a:r>
            <a:br>
              <a:rPr lang="de-DE" sz="2000" kern="0" dirty="0"/>
            </a:br>
            <a:r>
              <a:rPr lang="de-DE" sz="2000" kern="0" dirty="0">
                <a:hlinkClick r:id="rId3"/>
              </a:rPr>
              <a:t>thomas.stensitzki@granikos.eu</a:t>
            </a:r>
            <a:r>
              <a:rPr lang="de-DE" sz="2000" kern="0" dirty="0"/>
              <a:t>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6" name="Grafik 5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21248847-3FF0-4409-9A8D-174E1A14773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1496" y="1520890"/>
            <a:ext cx="1726913" cy="696744"/>
          </a:xfrm>
          <a:prstGeom prst="rect">
            <a:avLst/>
          </a:prstGeom>
        </p:spPr>
      </p:pic>
      <p:pic>
        <p:nvPicPr>
          <p:cNvPr id="7" name="Grafik 6" descr="Ein Bild, das Screenshot, Text enthält.&#10;&#10;Automatisch generierte Beschreibung">
            <a:extLst>
              <a:ext uri="{FF2B5EF4-FFF2-40B4-BE49-F238E27FC236}">
                <a16:creationId xmlns:a16="http://schemas.microsoft.com/office/drawing/2014/main" id="{88F97777-565E-4AA3-9103-8EB7EB31F7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8755" y="1982853"/>
            <a:ext cx="2953747" cy="4194110"/>
          </a:xfrm>
          <a:prstGeom prst="rect">
            <a:avLst/>
          </a:prstGeom>
        </p:spPr>
      </p:pic>
      <p:pic>
        <p:nvPicPr>
          <p:cNvPr id="8" name="Grafik 7" descr="Ein Bild, das blau, weiß, Schild enthält.&#10;&#10;Automatisch generierte Beschreibung">
            <a:extLst>
              <a:ext uri="{FF2B5EF4-FFF2-40B4-BE49-F238E27FC236}">
                <a16:creationId xmlns:a16="http://schemas.microsoft.com/office/drawing/2014/main" id="{5631CE2B-83FC-462E-8E5E-3D43927CE85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780" y="4444683"/>
            <a:ext cx="1831340" cy="183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58517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DFF3C50-4326-4090-9563-39166FAE16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Exchange - Notes from the Field</a:t>
            </a:r>
            <a:endParaRPr lang="de-DE" sz="32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D5FCE5E-BE6E-4AAA-BFE2-CADDE02D47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i="1" dirty="0"/>
              <a:t>Wie bereite ich mich auf das Ende von Exchange Server 2010 vor?</a:t>
            </a:r>
          </a:p>
        </p:txBody>
      </p:sp>
    </p:spTree>
    <p:extLst>
      <p:ext uri="{BB962C8B-B14F-4D97-AF65-F5344CB8AC3E}">
        <p14:creationId xmlns:p14="http://schemas.microsoft.com/office/powerpoint/2010/main" val="57749268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4D18106-10B8-4369-8831-215AC4DFC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Server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27B1AC8-C754-4125-A6B6-50E1270A92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Windows Server 2008R2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dirty="0"/>
              <a:t>Supportende 14. Januar 2020</a:t>
            </a:r>
          </a:p>
          <a:p>
            <a:pPr>
              <a:buFont typeface="Wingdings" panose="05000000000000000000" pitchFamily="2" charset="2"/>
              <a:buChar char="à"/>
            </a:pPr>
            <a:endParaRPr lang="de-DE" dirty="0"/>
          </a:p>
          <a:p>
            <a:pPr marL="0" indent="0">
              <a:buNone/>
            </a:pPr>
            <a:r>
              <a:rPr lang="de-DE" dirty="0"/>
              <a:t>Exchange Server 2010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dirty="0"/>
              <a:t>Supportende 13. Oktober 2020</a:t>
            </a:r>
          </a:p>
          <a:p>
            <a:pPr>
              <a:buFont typeface="Wingdings" panose="05000000000000000000" pitchFamily="2" charset="2"/>
              <a:buChar char="à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A0D12C0-FAC2-4E0B-8157-A3363555BF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559328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4D18106-10B8-4369-8831-215AC4DFC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Server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27B1AC8-C754-4125-A6B6-50E1270A92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20890"/>
            <a:ext cx="10515600" cy="4656073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Einzelserver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DAG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dirty="0"/>
              <a:t>Symmetrische Konfiguration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dirty="0"/>
              <a:t>Asymmetrische Konfiguration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Edge Server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A0D12C0-FAC2-4E0B-8157-A3363555BF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Die tolerante E-Mail-Plattform</a:t>
            </a:r>
          </a:p>
        </p:txBody>
      </p:sp>
    </p:spTree>
    <p:extLst>
      <p:ext uri="{BB962C8B-B14F-4D97-AF65-F5344CB8AC3E}">
        <p14:creationId xmlns:p14="http://schemas.microsoft.com/office/powerpoint/2010/main" val="211699651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4D18106-10B8-4369-8831-215AC4DFC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Server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27B1AC8-C754-4125-A6B6-50E1270A92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Exchange Namensraum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Bereinigung auf einen einheitlichen Namensraum der Exchange-Endpunkte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Identischer Namensraum für interne und externe URLs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Split-DNS Konfiguration</a:t>
            </a:r>
          </a:p>
          <a:p>
            <a:pPr>
              <a:buFont typeface="Wingdings" panose="05000000000000000000" pitchFamily="2" charset="2"/>
              <a:buChar char="à"/>
            </a:pP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A0D12C0-FAC2-4E0B-8157-A3363555BF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Die tolerante E-Mail-Plattform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08962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4D18106-10B8-4369-8831-215AC4DFC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Server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27B1AC8-C754-4125-A6B6-50E1270A92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Beispiele</a:t>
            </a:r>
          </a:p>
          <a:p>
            <a:pPr>
              <a:buFont typeface="Wingdings" panose="05000000000000000000" pitchFamily="2" charset="2"/>
              <a:buChar char="à"/>
            </a:pP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A0D12C0-FAC2-4E0B-8157-A3363555BF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/>
          <a:lstStyle/>
          <a:p>
            <a:r>
              <a:rPr lang="de-DE" dirty="0"/>
              <a:t>Die tolerante E-Mail-Plattform</a:t>
            </a:r>
          </a:p>
        </p:txBody>
      </p:sp>
    </p:spTree>
    <p:extLst>
      <p:ext uri="{BB962C8B-B14F-4D97-AF65-F5344CB8AC3E}">
        <p14:creationId xmlns:p14="http://schemas.microsoft.com/office/powerpoint/2010/main" val="187545500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CACD2B-8D74-414D-A5E6-E8BFC9569B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Serv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8DAF52B-C241-49D2-BBF8-9F407B6D34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Lösung zur Bereitstellung einer ausfallsicheren und hochverfügbaren E-Mail-Plattform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Funktionen zur Hochverfügbarkeit des Client-Zugriffs und der E-Mail-Zustellung sind im Produkt integrier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665A276-1EEF-435A-9AB8-F7762281E0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272817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2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XUSG_Master</Template>
  <TotalTime>0</TotalTime>
  <Words>342</Words>
  <Application>Microsoft Office PowerPoint</Application>
  <PresentationFormat>Breitbild</PresentationFormat>
  <Paragraphs>91</Paragraphs>
  <Slides>13</Slides>
  <Notes>6</Notes>
  <HiddenSlides>2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3</vt:i4>
      </vt:variant>
    </vt:vector>
  </HeadingPairs>
  <TitlesOfParts>
    <vt:vector size="20" baseType="lpstr">
      <vt:lpstr>Arial</vt:lpstr>
      <vt:lpstr>Calibri</vt:lpstr>
      <vt:lpstr>Calibri Light</vt:lpstr>
      <vt:lpstr>Segoe UI</vt:lpstr>
      <vt:lpstr>Wingdings</vt:lpstr>
      <vt:lpstr>Office</vt:lpstr>
      <vt:lpstr>1_Office</vt:lpstr>
      <vt:lpstr>Exchange User Group Berlin</vt:lpstr>
      <vt:lpstr>Sponsor</vt:lpstr>
      <vt:lpstr>PowerPoint-Präsentation</vt:lpstr>
      <vt:lpstr>Exchange - Notes from the Field</vt:lpstr>
      <vt:lpstr>Exchange Server</vt:lpstr>
      <vt:lpstr>Exchange Server</vt:lpstr>
      <vt:lpstr>Exchange Server</vt:lpstr>
      <vt:lpstr>Exchange Server</vt:lpstr>
      <vt:lpstr>Exchange Server</vt:lpstr>
      <vt:lpstr>Migration von Exchange Server 2010</vt:lpstr>
      <vt:lpstr>Migration von Exchange Server 2010</vt:lpstr>
      <vt:lpstr>PowerPoint-Präsentation</vt:lpstr>
      <vt:lpstr>Q &amp; A</vt:lpstr>
    </vt:vector>
  </TitlesOfParts>
  <Manager>Thomas.Stensitzki@Granikos.eu</Manager>
  <Company>Granikos GmbH &amp; Co. KG</Company>
  <LinksUpToDate>false</LinksUpToDate>
  <SharedDoc>false</SharedDoc>
  <HyperlinkBase>https://www.granikos.eu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USG | MetaCacheDatabase und BigFunnel</dc:title>
  <dc:subject>Exchange User Group Berlin | UG Meeting 3. April 2019</dc:subject>
  <dc:creator>Thomas.Stensitzki@Granikos.eu</dc:creator>
  <cp:keywords>EXUSG</cp:keywords>
  <cp:lastModifiedBy>Thomas Stensitzki</cp:lastModifiedBy>
  <cp:revision>78</cp:revision>
  <dcterms:created xsi:type="dcterms:W3CDTF">2017-02-23T19:31:41Z</dcterms:created>
  <dcterms:modified xsi:type="dcterms:W3CDTF">2019-11-14T10:25:12Z</dcterms:modified>
  <cp:contentStatus>Final</cp:contentStatus>
</cp:coreProperties>
</file>